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26"/>
  </p:notesMasterIdLst>
  <p:handoutMasterIdLst>
    <p:handoutMasterId r:id="rId27"/>
  </p:handoutMasterIdLst>
  <p:sldIdLst>
    <p:sldId id="495" r:id="rId2"/>
    <p:sldId id="515" r:id="rId3"/>
    <p:sldId id="516" r:id="rId4"/>
    <p:sldId id="517" r:id="rId5"/>
    <p:sldId id="498" r:id="rId6"/>
    <p:sldId id="496" r:id="rId7"/>
    <p:sldId id="497" r:id="rId8"/>
    <p:sldId id="500" r:id="rId9"/>
    <p:sldId id="501" r:id="rId10"/>
    <p:sldId id="504" r:id="rId11"/>
    <p:sldId id="502" r:id="rId12"/>
    <p:sldId id="503" r:id="rId13"/>
    <p:sldId id="505" r:id="rId14"/>
    <p:sldId id="506" r:id="rId15"/>
    <p:sldId id="507" r:id="rId16"/>
    <p:sldId id="509" r:id="rId17"/>
    <p:sldId id="508" r:id="rId18"/>
    <p:sldId id="513" r:id="rId19"/>
    <p:sldId id="512" r:id="rId20"/>
    <p:sldId id="519" r:id="rId21"/>
    <p:sldId id="499" r:id="rId22"/>
    <p:sldId id="510" r:id="rId23"/>
    <p:sldId id="514" r:id="rId24"/>
    <p:sldId id="518" r:id="rId25"/>
  </p:sldIdLst>
  <p:sldSz cx="9144000" cy="6858000" type="screen4x3"/>
  <p:notesSz cx="10007600" cy="6794500"/>
  <p:custDataLst>
    <p:tags r:id="rId28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abian Scheurer" initials="fsc" lastIdx="23" clrIdx="0"/>
  <p:cmAuthor id="1" name="Walter Fallegger" initials="WF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5D5"/>
    <a:srgbClr val="FFFFFF"/>
    <a:srgbClr val="EBF0FA"/>
    <a:srgbClr val="EBF5FA"/>
    <a:srgbClr val="00339B"/>
    <a:srgbClr val="FFDC44"/>
    <a:srgbClr val="E643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8084" autoAdjust="0"/>
    <p:restoredTop sz="97789" autoAdjust="0"/>
  </p:normalViewPr>
  <p:slideViewPr>
    <p:cSldViewPr showGuides="1">
      <p:cViewPr>
        <p:scale>
          <a:sx n="90" d="100"/>
          <a:sy n="90" d="100"/>
        </p:scale>
        <p:origin x="-540" y="-96"/>
      </p:cViewPr>
      <p:guideLst>
        <p:guide orient="horz" pos="1162"/>
        <p:guide orient="horz" pos="436"/>
        <p:guide orient="horz" pos="3884"/>
        <p:guide orient="horz" pos="3612"/>
        <p:guide orient="horz" pos="2160"/>
        <p:guide pos="385"/>
        <p:guide pos="5375"/>
        <p:guide pos="2880"/>
        <p:guide pos="2971"/>
        <p:guide pos="2789"/>
      </p:guideLst>
    </p:cSldViewPr>
  </p:slideViewPr>
  <p:outlineViewPr>
    <p:cViewPr>
      <p:scale>
        <a:sx n="33" d="100"/>
        <a:sy n="33" d="100"/>
      </p:scale>
      <p:origin x="0" y="18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127" d="100"/>
          <a:sy n="127" d="100"/>
        </p:scale>
        <p:origin x="-1674" y="-102"/>
      </p:cViewPr>
      <p:guideLst>
        <p:guide orient="horz" pos="2140"/>
        <p:guide pos="315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2"/>
            <a:ext cx="4337718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69883" y="2"/>
            <a:ext cx="4337718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fld id="{A7772BF3-AF3D-43EE-B1A5-F68EFE48C881}" type="datetime1">
              <a:rPr lang="de-DE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454777"/>
            <a:ext cx="4337718" cy="339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r>
              <a:rPr lang="de-DE" dirty="0"/>
              <a:t>Corporate Presentation</a:t>
            </a:r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69883" y="6454777"/>
            <a:ext cx="4337718" cy="339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fld id="{8128B4CB-9FB8-4530-8BC9-B71C8AF4697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662314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2"/>
            <a:ext cx="4337718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69883" y="2"/>
            <a:ext cx="4337718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fld id="{C5623922-EA55-48C0-A093-F275FF7952E4}" type="datetime1">
              <a:rPr lang="de-DE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1136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305175" y="509588"/>
            <a:ext cx="3397250" cy="25479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334504" y="3227938"/>
            <a:ext cx="7338595" cy="3057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454777"/>
            <a:ext cx="4337718" cy="339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r>
              <a:rPr lang="de-DE" dirty="0"/>
              <a:t>Corporate Presentation</a:t>
            </a:r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69883" y="6454777"/>
            <a:ext cx="4337718" cy="339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fld id="{C00D9AA7-9C2C-420B-9163-D67DA61B2697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1820655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15" charset="0"/>
        <a:ea typeface="ヒラギノ角ゴ Pro W3" pitchFamily="15" charset="-128"/>
        <a:cs typeface="ヒラギノ角ゴ Pro W3" pitchFamily="15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15" charset="0"/>
        <a:ea typeface="ヒラギノ角ゴ Pro W3" pitchFamily="15" charset="-128"/>
        <a:cs typeface="ヒラギノ角ゴ Pro W3" pitchFamily="15" charset="-128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15" charset="0"/>
        <a:ea typeface="ヒラギノ角ゴ Pro W3" pitchFamily="15" charset="-128"/>
        <a:cs typeface="ヒラギノ角ゴ Pro W3" pitchFamily="15" charset="-128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15" charset="0"/>
        <a:ea typeface="ヒラギノ角ゴ Pro W3" pitchFamily="15" charset="-128"/>
        <a:cs typeface="ヒラギノ角ゴ Pro W3" pitchFamily="15" charset="-128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15" charset="0"/>
        <a:ea typeface="ヒラギノ角ゴ Pro W3" pitchFamily="15" charset="-128"/>
        <a:cs typeface="ヒラギノ角ゴ Pro W3" pitchFamily="15" charset="-128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7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7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7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w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.tif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tif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tiff"/><Relationship Id="rId5" Type="http://schemas.openxmlformats.org/officeDocument/2006/relationships/image" Target="../media/image2.w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tags" Target="../tags/tag17.xml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image" Target="../media/image1.tif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Relationship Id="rId9" Type="http://schemas.openxmlformats.org/officeDocument/2006/relationships/image" Target="../media/image1.tif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Relationship Id="rId9" Type="http://schemas.openxmlformats.org/officeDocument/2006/relationships/image" Target="../media/image1.tif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7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4" Type="http://schemas.openxmlformats.org/officeDocument/2006/relationships/tags" Target="../tags/tag30.xml"/><Relationship Id="rId9" Type="http://schemas.openxmlformats.org/officeDocument/2006/relationships/image" Target="../media/image1.tif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8.v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4" Type="http://schemas.openxmlformats.org/officeDocument/2006/relationships/tags" Target="../tags/tag35.xml"/><Relationship Id="rId9" Type="http://schemas.openxmlformats.org/officeDocument/2006/relationships/image" Target="../media/image1.tif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9" Type="http://schemas.openxmlformats.org/officeDocument/2006/relationships/image" Target="../media/image1.tif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tiff"/><Relationship Id="rId3" Type="http://schemas.openxmlformats.org/officeDocument/2006/relationships/tags" Target="../tags/tag44.xml"/><Relationship Id="rId7" Type="http://schemas.openxmlformats.org/officeDocument/2006/relationships/oleObject" Target="../embeddings/oleObject10.bin"/><Relationship Id="rId2" Type="http://schemas.openxmlformats.org/officeDocument/2006/relationships/tags" Target="../tags/tag43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6.xml"/><Relationship Id="rId4" Type="http://schemas.openxmlformats.org/officeDocument/2006/relationships/tags" Target="../tags/tag4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BalSoBa_blue_rgb.tif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772431" y="358491"/>
            <a:ext cx="3035077" cy="360000"/>
          </a:xfrm>
          <a:prstGeom prst="rect">
            <a:avLst/>
          </a:prstGeom>
        </p:spPr>
      </p:pic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5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611188" y="690524"/>
            <a:ext cx="7923213" cy="864000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de-CH" noProof="0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0"/>
          </p:nvPr>
        </p:nvSpPr>
        <p:spPr>
          <a:xfrm>
            <a:off x="611187" y="1844675"/>
            <a:ext cx="7921626" cy="388937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23" name="Rectangle 3"/>
          <p:cNvSpPr txBox="1">
            <a:spLocks noChangeArrowheads="1"/>
          </p:cNvSpPr>
          <p:nvPr userDrawn="1"/>
        </p:nvSpPr>
        <p:spPr bwMode="auto">
          <a:xfrm>
            <a:off x="611188" y="6167475"/>
            <a:ext cx="21205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ct val="20000"/>
              </a:spcBef>
              <a:buClr>
                <a:schemeClr val="tx2"/>
              </a:buClr>
            </a:pPr>
            <a:r>
              <a:rPr lang="de-CH" sz="1400" b="1" noProof="0" dirty="0" smtClean="0">
                <a:solidFill>
                  <a:schemeClr val="accent1"/>
                </a:solidFill>
              </a:rPr>
              <a:t>Wir machen Sie sicherer.</a:t>
            </a:r>
            <a:endParaRPr lang="de-CH" sz="1400" b="1" noProof="0" dirty="0">
              <a:solidFill>
                <a:schemeClr val="accent1"/>
              </a:solidFill>
            </a:endParaRPr>
          </a:p>
        </p:txBody>
      </p:sp>
      <p:pic>
        <p:nvPicPr>
          <p:cNvPr id="11" name="Grafik 10" descr="Unbenannt-1.wmf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6678658"/>
            <a:ext cx="9144000" cy="18997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53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6"/>
          <p:cNvGrpSpPr/>
          <p:nvPr userDrawn="1"/>
        </p:nvGrpSpPr>
        <p:grpSpPr>
          <a:xfrm>
            <a:off x="0" y="6678656"/>
            <a:ext cx="9144000" cy="179344"/>
            <a:chOff x="0" y="5976000"/>
            <a:chExt cx="9144000" cy="180000"/>
          </a:xfrm>
        </p:grpSpPr>
        <p:sp>
          <p:nvSpPr>
            <p:cNvPr id="18" name="Eine Ecke des Rechtecks schneiden 17"/>
            <p:cNvSpPr/>
            <p:nvPr userDrawn="1"/>
          </p:nvSpPr>
          <p:spPr bwMode="auto">
            <a:xfrm flipH="1">
              <a:off x="6120000" y="5976000"/>
              <a:ext cx="3024000" cy="180000"/>
            </a:xfrm>
            <a:prstGeom prst="snip1Rect">
              <a:avLst>
                <a:gd name="adj" fmla="val 50000"/>
              </a:avLst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  <p:sp>
          <p:nvSpPr>
            <p:cNvPr id="19" name="Eine Ecke des Rechtecks schneiden 18"/>
            <p:cNvSpPr/>
            <p:nvPr userDrawn="1"/>
          </p:nvSpPr>
          <p:spPr bwMode="auto">
            <a:xfrm rot="10800000" flipH="1">
              <a:off x="0" y="5976000"/>
              <a:ext cx="6228000" cy="180000"/>
            </a:xfrm>
            <a:prstGeom prst="snip1Rect">
              <a:avLst>
                <a:gd name="adj" fmla="val 50000"/>
              </a:avLst>
            </a:prstGeom>
            <a:solidFill>
              <a:schemeClr val="tx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  <p:sp>
          <p:nvSpPr>
            <p:cNvPr id="20" name="Parallelogramm 19"/>
            <p:cNvSpPr/>
            <p:nvPr userDrawn="1"/>
          </p:nvSpPr>
          <p:spPr bwMode="auto">
            <a:xfrm>
              <a:off x="6048000" y="5976000"/>
              <a:ext cx="288000" cy="180000"/>
            </a:xfrm>
            <a:prstGeom prst="parallelogram">
              <a:avLst>
                <a:gd name="adj" fmla="val 100267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</p:grpSp>
      <p:sp>
        <p:nvSpPr>
          <p:cNvPr id="23" name="Rectangle 3"/>
          <p:cNvSpPr txBox="1">
            <a:spLocks noChangeArrowheads="1"/>
          </p:cNvSpPr>
          <p:nvPr userDrawn="1"/>
        </p:nvSpPr>
        <p:spPr bwMode="auto">
          <a:xfrm>
            <a:off x="611188" y="5842685"/>
            <a:ext cx="3183949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ct val="20000"/>
              </a:spcBef>
              <a:buClr>
                <a:schemeClr val="tx2"/>
              </a:buClr>
            </a:pPr>
            <a:r>
              <a:rPr lang="de-CH" sz="2100" b="1" noProof="0" dirty="0" smtClean="0">
                <a:solidFill>
                  <a:schemeClr val="accent1"/>
                </a:solidFill>
              </a:rPr>
              <a:t>Wir machen Sie sicherer.</a:t>
            </a:r>
            <a:endParaRPr lang="de-CH" sz="2100" b="1" noProof="0" dirty="0">
              <a:solidFill>
                <a:schemeClr val="accent1"/>
              </a:solidFill>
            </a:endParaRPr>
          </a:p>
        </p:txBody>
      </p:sp>
      <p:pic>
        <p:nvPicPr>
          <p:cNvPr id="9" name="Grafik 8" descr="BalSoBa_blue_rgb.tif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772431" y="358491"/>
            <a:ext cx="3035077" cy="360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/>
          <p:cNvSpPr>
            <a:spLocks noGrp="1"/>
          </p:cNvSpPr>
          <p:nvPr>
            <p:ph type="pic" sz="quarter" idx="11"/>
          </p:nvPr>
        </p:nvSpPr>
        <p:spPr>
          <a:xfrm>
            <a:off x="0" y="1844675"/>
            <a:ext cx="9144000" cy="4833982"/>
          </a:xfrm>
          <a:solidFill>
            <a:schemeClr val="accent5"/>
          </a:solidFill>
        </p:spPr>
        <p:txBody>
          <a:bodyPr/>
          <a:lstStyle>
            <a:lvl1pPr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de-DE" noProof="0" smtClean="0"/>
              <a:t>Bild durch Klicken auf Symbol hinzufügen</a:t>
            </a:r>
            <a:endParaRPr lang="de-CH" noProof="0" dirty="0"/>
          </a:p>
        </p:txBody>
      </p:sp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65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611188" y="690524"/>
            <a:ext cx="7923213" cy="864000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de-CH" noProof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0"/>
          </p:nvPr>
        </p:nvSpPr>
        <p:spPr>
          <a:xfrm>
            <a:off x="611187" y="1566838"/>
            <a:ext cx="7921626" cy="277838"/>
          </a:xfrm>
        </p:spPr>
        <p:txBody>
          <a:bodyPr/>
          <a:lstStyle>
            <a:lvl1pPr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23" name="Rectangle 3"/>
          <p:cNvSpPr txBox="1">
            <a:spLocks noChangeArrowheads="1"/>
          </p:cNvSpPr>
          <p:nvPr userDrawn="1"/>
        </p:nvSpPr>
        <p:spPr bwMode="auto">
          <a:xfrm>
            <a:off x="611188" y="6165850"/>
            <a:ext cx="21205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ct val="20000"/>
              </a:spcBef>
              <a:buClr>
                <a:schemeClr val="tx2"/>
              </a:buClr>
            </a:pPr>
            <a:r>
              <a:rPr lang="de-CH" sz="1400" b="1" noProof="0" dirty="0" smtClean="0">
                <a:solidFill>
                  <a:schemeClr val="accent1"/>
                </a:solidFill>
              </a:rPr>
              <a:t>Wir machen Sie sicherer.</a:t>
            </a:r>
            <a:endParaRPr lang="de-CH" sz="1400" b="1" noProof="0" dirty="0">
              <a:solidFill>
                <a:schemeClr val="accent1"/>
              </a:solidFill>
            </a:endParaRPr>
          </a:p>
        </p:txBody>
      </p:sp>
      <p:pic>
        <p:nvPicPr>
          <p:cNvPr id="12" name="Grafik 11" descr="Unbenannt-1.wmf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6678658"/>
            <a:ext cx="9144000" cy="189976"/>
          </a:xfrm>
          <a:prstGeom prst="rect">
            <a:avLst/>
          </a:prstGeom>
        </p:spPr>
      </p:pic>
      <p:pic>
        <p:nvPicPr>
          <p:cNvPr id="9" name="Grafik 8" descr="BalSoBa_blue_rgb.tif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772431" y="358491"/>
            <a:ext cx="3035077" cy="360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81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40425" y="6357958"/>
            <a:ext cx="100491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90000" rIns="72000" bIns="90000"/>
          <a:lstStyle/>
          <a:p>
            <a:pPr eaLnBrk="0" hangingPunct="0">
              <a:defRPr/>
            </a:pPr>
            <a:r>
              <a:rPr lang="de-CH" sz="800" noProof="0" dirty="0" smtClean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rPr>
              <a:t>www.baloise.ch</a:t>
            </a:r>
            <a:endParaRPr lang="de-CH" sz="800" noProof="0" dirty="0">
              <a:solidFill>
                <a:schemeClr val="tx2"/>
              </a:solidFill>
              <a:latin typeface="Arial" charset="0"/>
              <a:ea typeface="ヒラギノ角ゴ Pro W3" pitchFamily="36" charset="-128"/>
              <a:cs typeface="+mn-cs"/>
            </a:endParaRPr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611188" y="692150"/>
            <a:ext cx="792321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itelmasterformat durch Klicken bearbeiten</a:t>
            </a:r>
            <a:endParaRPr lang="de-CH" noProof="0" smtClean="0"/>
          </a:p>
        </p:txBody>
      </p:sp>
      <p:sp>
        <p:nvSpPr>
          <p:cNvPr id="24" name="Line 7"/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auto">
          <a:xfrm>
            <a:off x="2854301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sp>
        <p:nvSpPr>
          <p:cNvPr id="25" name="Line 7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5938837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cxnSp>
        <p:nvCxnSpPr>
          <p:cNvPr id="27" name="Gerade Verbindung 26"/>
          <p:cNvCxnSpPr/>
          <p:nvPr userDrawn="1"/>
        </p:nvCxnSpPr>
        <p:spPr bwMode="auto">
          <a:xfrm rot="5400000">
            <a:off x="8058180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Gerade Verbindung 27"/>
          <p:cNvCxnSpPr/>
          <p:nvPr userDrawn="1"/>
        </p:nvCxnSpPr>
        <p:spPr bwMode="auto">
          <a:xfrm rot="5400000">
            <a:off x="6854045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0" name="Inhaltsplatzhalter 29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sp>
        <p:nvSpPr>
          <p:cNvPr id="31" name="Datumsplatzhalter 30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1D5045D-E444-4A71-A071-A5B8BAD35080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32" name="Foliennummernplatzhalter 3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‹Nr.›</a:t>
            </a:fld>
            <a:endParaRPr lang="de-CH" noProof="0" dirty="0"/>
          </a:p>
        </p:txBody>
      </p:sp>
      <p:sp>
        <p:nvSpPr>
          <p:cNvPr id="33" name="Fußzeilenplatzhalter 3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de-CH" dirty="0"/>
          </a:p>
        </p:txBody>
      </p:sp>
      <p:pic>
        <p:nvPicPr>
          <p:cNvPr id="15" name="Grafik 14" descr="BalSoBa_blue_rgb.tif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09891" y="6379872"/>
            <a:ext cx="2124554" cy="252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361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40425" y="6357958"/>
            <a:ext cx="100491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90000" rIns="72000" bIns="90000"/>
          <a:lstStyle/>
          <a:p>
            <a:pPr eaLnBrk="0" hangingPunct="0">
              <a:defRPr/>
            </a:pPr>
            <a:r>
              <a:rPr lang="de-CH" sz="800" noProof="0" dirty="0" smtClean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rPr>
              <a:t>www.baloise.ch</a:t>
            </a:r>
            <a:endParaRPr lang="de-CH" sz="800" noProof="0" dirty="0">
              <a:solidFill>
                <a:schemeClr val="tx2"/>
              </a:solidFill>
              <a:latin typeface="Arial" charset="0"/>
              <a:ea typeface="ヒラギノ角ゴ Pro W3" pitchFamily="36" charset="-128"/>
              <a:cs typeface="+mn-cs"/>
            </a:endParaRPr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611188" y="692150"/>
            <a:ext cx="792321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itelmasterformat durch Klicken bearbeiten</a:t>
            </a:r>
            <a:endParaRPr lang="de-CH" noProof="0" smtClean="0"/>
          </a:p>
        </p:txBody>
      </p:sp>
      <p:sp>
        <p:nvSpPr>
          <p:cNvPr id="24" name="Line 7"/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auto">
          <a:xfrm>
            <a:off x="2854301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sp>
        <p:nvSpPr>
          <p:cNvPr id="25" name="Line 7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5938837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cxnSp>
        <p:nvCxnSpPr>
          <p:cNvPr id="27" name="Gerade Verbindung 26"/>
          <p:cNvCxnSpPr/>
          <p:nvPr userDrawn="1"/>
        </p:nvCxnSpPr>
        <p:spPr bwMode="auto">
          <a:xfrm rot="5400000">
            <a:off x="8058180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Gerade Verbindung 27"/>
          <p:cNvCxnSpPr/>
          <p:nvPr userDrawn="1"/>
        </p:nvCxnSpPr>
        <p:spPr bwMode="auto">
          <a:xfrm rot="5400000">
            <a:off x="6854045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1" name="Datumsplatzhalter 30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9E7C73D2-7B4D-4BE3-8F0C-CDC290B7A144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32" name="Foliennummernplatzhalter 3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‹Nr.›</a:t>
            </a:fld>
            <a:endParaRPr lang="de-CH" noProof="0" dirty="0"/>
          </a:p>
        </p:txBody>
      </p:sp>
      <p:sp>
        <p:nvSpPr>
          <p:cNvPr id="33" name="Fußzeilenplatzhalter 3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de-CH" dirty="0"/>
          </a:p>
        </p:txBody>
      </p:sp>
      <p:cxnSp>
        <p:nvCxnSpPr>
          <p:cNvPr id="16" name="Gerade Verbindung 15"/>
          <p:cNvCxnSpPr/>
          <p:nvPr userDrawn="1"/>
        </p:nvCxnSpPr>
        <p:spPr bwMode="auto">
          <a:xfrm>
            <a:off x="611188" y="1844675"/>
            <a:ext cx="3816350" cy="15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Gerade Verbindung 18"/>
          <p:cNvCxnSpPr/>
          <p:nvPr userDrawn="1"/>
        </p:nvCxnSpPr>
        <p:spPr bwMode="auto">
          <a:xfrm>
            <a:off x="4716463" y="1844675"/>
            <a:ext cx="3816350" cy="15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Inhaltsplatzhalter 29"/>
          <p:cNvSpPr>
            <a:spLocks noGrp="1"/>
          </p:cNvSpPr>
          <p:nvPr>
            <p:ph sz="quarter" idx="10"/>
          </p:nvPr>
        </p:nvSpPr>
        <p:spPr>
          <a:xfrm>
            <a:off x="611188" y="1844675"/>
            <a:ext cx="3816350" cy="4321174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sp>
        <p:nvSpPr>
          <p:cNvPr id="21" name="Inhaltsplatzhalter 29"/>
          <p:cNvSpPr>
            <a:spLocks noGrp="1"/>
          </p:cNvSpPr>
          <p:nvPr>
            <p:ph sz="quarter" idx="14"/>
          </p:nvPr>
        </p:nvSpPr>
        <p:spPr>
          <a:xfrm>
            <a:off x="4716463" y="1844675"/>
            <a:ext cx="3816350" cy="4321174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pic>
        <p:nvPicPr>
          <p:cNvPr id="22" name="Grafik 21" descr="BalSoBa_blue_rgb.tif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09891" y="6379872"/>
            <a:ext cx="2124554" cy="252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Gerade Verbindung 15"/>
          <p:cNvCxnSpPr/>
          <p:nvPr userDrawn="1"/>
        </p:nvCxnSpPr>
        <p:spPr bwMode="auto">
          <a:xfrm>
            <a:off x="611188" y="1844675"/>
            <a:ext cx="2536805" cy="15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Gerade Verbindung 18"/>
          <p:cNvCxnSpPr/>
          <p:nvPr userDrawn="1"/>
        </p:nvCxnSpPr>
        <p:spPr bwMode="auto">
          <a:xfrm>
            <a:off x="3294045" y="1844675"/>
            <a:ext cx="2555332" cy="357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0" name="Inhaltsplatzhalter 29"/>
          <p:cNvSpPr>
            <a:spLocks noGrp="1"/>
          </p:cNvSpPr>
          <p:nvPr>
            <p:ph sz="quarter" idx="15"/>
          </p:nvPr>
        </p:nvSpPr>
        <p:spPr>
          <a:xfrm>
            <a:off x="3294045" y="1844676"/>
            <a:ext cx="2555910" cy="4321174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graphicFrame>
        <p:nvGraphicFramePr>
          <p:cNvPr id="4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433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40425" y="6357958"/>
            <a:ext cx="100491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90000" rIns="72000" bIns="90000"/>
          <a:lstStyle/>
          <a:p>
            <a:pPr eaLnBrk="0" hangingPunct="0">
              <a:defRPr/>
            </a:pPr>
            <a:r>
              <a:rPr lang="de-CH" sz="800" noProof="0" dirty="0" smtClean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rPr>
              <a:t>www.baloise.ch</a:t>
            </a:r>
            <a:endParaRPr lang="de-CH" sz="800" noProof="0" dirty="0">
              <a:solidFill>
                <a:schemeClr val="tx2"/>
              </a:solidFill>
              <a:latin typeface="Arial" charset="0"/>
              <a:ea typeface="ヒラギノ角ゴ Pro W3" pitchFamily="36" charset="-128"/>
              <a:cs typeface="+mn-cs"/>
            </a:endParaRPr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611188" y="692150"/>
            <a:ext cx="792321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itelmasterformat durch Klicken bearbeiten</a:t>
            </a:r>
            <a:endParaRPr lang="de-CH" noProof="0" smtClean="0"/>
          </a:p>
        </p:txBody>
      </p:sp>
      <p:sp>
        <p:nvSpPr>
          <p:cNvPr id="24" name="Line 7"/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auto">
          <a:xfrm>
            <a:off x="2198655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sp>
        <p:nvSpPr>
          <p:cNvPr id="25" name="Line 7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5938837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cxnSp>
        <p:nvCxnSpPr>
          <p:cNvPr id="27" name="Gerade Verbindung 26"/>
          <p:cNvCxnSpPr/>
          <p:nvPr userDrawn="1"/>
        </p:nvCxnSpPr>
        <p:spPr bwMode="auto">
          <a:xfrm rot="5400000">
            <a:off x="8058180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Gerade Verbindung 27"/>
          <p:cNvCxnSpPr/>
          <p:nvPr userDrawn="1"/>
        </p:nvCxnSpPr>
        <p:spPr bwMode="auto">
          <a:xfrm rot="5400000">
            <a:off x="6854045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0" name="Inhaltsplatzhalter 29"/>
          <p:cNvSpPr>
            <a:spLocks noGrp="1"/>
          </p:cNvSpPr>
          <p:nvPr>
            <p:ph sz="quarter" idx="10"/>
          </p:nvPr>
        </p:nvSpPr>
        <p:spPr>
          <a:xfrm>
            <a:off x="611188" y="1844675"/>
            <a:ext cx="2536805" cy="4321174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sp>
        <p:nvSpPr>
          <p:cNvPr id="31" name="Datumsplatzhalter 30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2CCEC8CC-5EF7-49FF-9024-E9916B22ED36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32" name="Foliennummernplatzhalter 3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‹Nr.›</a:t>
            </a:fld>
            <a:endParaRPr lang="de-CH" noProof="0" dirty="0"/>
          </a:p>
        </p:txBody>
      </p:sp>
      <p:sp>
        <p:nvSpPr>
          <p:cNvPr id="33" name="Fußzeilenplatzhalter 3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de-CH" dirty="0"/>
          </a:p>
        </p:txBody>
      </p:sp>
      <p:cxnSp>
        <p:nvCxnSpPr>
          <p:cNvPr id="23" name="Gerade Verbindung 22"/>
          <p:cNvCxnSpPr/>
          <p:nvPr userDrawn="1"/>
        </p:nvCxnSpPr>
        <p:spPr bwMode="auto">
          <a:xfrm>
            <a:off x="5996007" y="1844675"/>
            <a:ext cx="2536215" cy="5371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9" name="Inhaltsplatzhalter 29"/>
          <p:cNvSpPr>
            <a:spLocks noGrp="1"/>
          </p:cNvSpPr>
          <p:nvPr>
            <p:ph sz="quarter" idx="14"/>
          </p:nvPr>
        </p:nvSpPr>
        <p:spPr>
          <a:xfrm>
            <a:off x="5996007" y="1844675"/>
            <a:ext cx="2536806" cy="4321174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pic>
        <p:nvPicPr>
          <p:cNvPr id="20" name="Grafik 19" descr="BalSoBa_blue_rgb.tif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09891" y="6379872"/>
            <a:ext cx="2124554" cy="252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385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40425" y="6357958"/>
            <a:ext cx="100491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90000" rIns="72000" bIns="90000"/>
          <a:lstStyle/>
          <a:p>
            <a:pPr eaLnBrk="0" hangingPunct="0">
              <a:defRPr/>
            </a:pPr>
            <a:r>
              <a:rPr lang="de-CH" sz="800" noProof="0" dirty="0" smtClean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rPr>
              <a:t>www.baloise.ch</a:t>
            </a:r>
            <a:endParaRPr lang="de-CH" sz="800" noProof="0" dirty="0">
              <a:solidFill>
                <a:schemeClr val="tx2"/>
              </a:solidFill>
              <a:latin typeface="Arial" charset="0"/>
              <a:ea typeface="ヒラギノ角ゴ Pro W3" pitchFamily="36" charset="-128"/>
              <a:cs typeface="+mn-cs"/>
            </a:endParaRPr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611188" y="692150"/>
            <a:ext cx="792321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itelmasterformat durch Klicken bearbeiten</a:t>
            </a:r>
            <a:endParaRPr lang="de-CH" noProof="0" smtClean="0"/>
          </a:p>
        </p:txBody>
      </p:sp>
      <p:sp>
        <p:nvSpPr>
          <p:cNvPr id="24" name="Line 7"/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auto">
          <a:xfrm>
            <a:off x="2854301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sp>
        <p:nvSpPr>
          <p:cNvPr id="25" name="Line 7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5938837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cxnSp>
        <p:nvCxnSpPr>
          <p:cNvPr id="27" name="Gerade Verbindung 26"/>
          <p:cNvCxnSpPr/>
          <p:nvPr userDrawn="1"/>
        </p:nvCxnSpPr>
        <p:spPr bwMode="auto">
          <a:xfrm rot="5400000">
            <a:off x="8058180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Gerade Verbindung 27"/>
          <p:cNvCxnSpPr/>
          <p:nvPr userDrawn="1"/>
        </p:nvCxnSpPr>
        <p:spPr bwMode="auto">
          <a:xfrm rot="5400000">
            <a:off x="6854045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1" name="Datumsplatzhalter 30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D261DF7D-1C3F-42E3-B883-2D801DE82FBC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32" name="Foliennummernplatzhalter 3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‹Nr.›</a:t>
            </a:fld>
            <a:endParaRPr lang="de-CH" noProof="0" dirty="0"/>
          </a:p>
        </p:txBody>
      </p:sp>
      <p:sp>
        <p:nvSpPr>
          <p:cNvPr id="33" name="Fußzeilenplatzhalter 3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de-CH" dirty="0"/>
          </a:p>
        </p:txBody>
      </p:sp>
      <p:cxnSp>
        <p:nvCxnSpPr>
          <p:cNvPr id="21" name="Gerade Verbindung 20"/>
          <p:cNvCxnSpPr/>
          <p:nvPr userDrawn="1"/>
        </p:nvCxnSpPr>
        <p:spPr bwMode="auto">
          <a:xfrm>
            <a:off x="611188" y="1844675"/>
            <a:ext cx="3816350" cy="15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Gerade Verbindung 22"/>
          <p:cNvCxnSpPr/>
          <p:nvPr userDrawn="1"/>
        </p:nvCxnSpPr>
        <p:spPr bwMode="auto">
          <a:xfrm>
            <a:off x="611188" y="4075112"/>
            <a:ext cx="3816350" cy="15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4" name="Gerade Verbindung 33"/>
          <p:cNvCxnSpPr/>
          <p:nvPr userDrawn="1"/>
        </p:nvCxnSpPr>
        <p:spPr bwMode="auto">
          <a:xfrm>
            <a:off x="4716463" y="1844675"/>
            <a:ext cx="3816350" cy="15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Gerade Verbindung 35"/>
          <p:cNvCxnSpPr/>
          <p:nvPr userDrawn="1"/>
        </p:nvCxnSpPr>
        <p:spPr bwMode="auto">
          <a:xfrm>
            <a:off x="4716463" y="4075112"/>
            <a:ext cx="3816350" cy="15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Inhaltsplatzhalter 29"/>
          <p:cNvSpPr>
            <a:spLocks noGrp="1"/>
          </p:cNvSpPr>
          <p:nvPr>
            <p:ph sz="quarter" idx="10"/>
          </p:nvPr>
        </p:nvSpPr>
        <p:spPr>
          <a:xfrm>
            <a:off x="611188" y="1844675"/>
            <a:ext cx="3816350" cy="2089150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sp>
        <p:nvSpPr>
          <p:cNvPr id="39" name="Inhaltsplatzhalter 29"/>
          <p:cNvSpPr>
            <a:spLocks noGrp="1"/>
          </p:cNvSpPr>
          <p:nvPr>
            <p:ph sz="quarter" idx="14"/>
          </p:nvPr>
        </p:nvSpPr>
        <p:spPr>
          <a:xfrm>
            <a:off x="4716463" y="1844675"/>
            <a:ext cx="3816350" cy="2089150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sp>
        <p:nvSpPr>
          <p:cNvPr id="40" name="Inhaltsplatzhalter 29"/>
          <p:cNvSpPr>
            <a:spLocks noGrp="1"/>
          </p:cNvSpPr>
          <p:nvPr>
            <p:ph sz="quarter" idx="15"/>
          </p:nvPr>
        </p:nvSpPr>
        <p:spPr>
          <a:xfrm>
            <a:off x="611188" y="4076700"/>
            <a:ext cx="3816350" cy="2089150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sp>
        <p:nvSpPr>
          <p:cNvPr id="41" name="Inhaltsplatzhalter 29"/>
          <p:cNvSpPr>
            <a:spLocks noGrp="1"/>
          </p:cNvSpPr>
          <p:nvPr>
            <p:ph sz="quarter" idx="16"/>
          </p:nvPr>
        </p:nvSpPr>
        <p:spPr>
          <a:xfrm>
            <a:off x="4716463" y="4076700"/>
            <a:ext cx="3816350" cy="2089150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pic>
        <p:nvPicPr>
          <p:cNvPr id="22" name="Grafik 21" descr="BalSoBa_blue_rgb.tif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09891" y="6379872"/>
            <a:ext cx="2124554" cy="252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Fliess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289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40425" y="6357958"/>
            <a:ext cx="100491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90000" rIns="72000" bIns="90000"/>
          <a:lstStyle/>
          <a:p>
            <a:pPr eaLnBrk="0" hangingPunct="0">
              <a:defRPr/>
            </a:pPr>
            <a:r>
              <a:rPr lang="de-CH" sz="800" noProof="0" dirty="0" smtClean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rPr>
              <a:t>www.baloise.ch</a:t>
            </a:r>
            <a:endParaRPr lang="de-CH" sz="800" noProof="0" dirty="0">
              <a:solidFill>
                <a:schemeClr val="tx2"/>
              </a:solidFill>
              <a:latin typeface="Arial" charset="0"/>
              <a:ea typeface="ヒラギノ角ゴ Pro W3" pitchFamily="36" charset="-128"/>
              <a:cs typeface="+mn-cs"/>
            </a:endParaRPr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611188" y="692150"/>
            <a:ext cx="792321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itelmasterformat durch Klicken bearbeiten</a:t>
            </a:r>
            <a:endParaRPr lang="de-CH" noProof="0" smtClean="0"/>
          </a:p>
        </p:txBody>
      </p:sp>
      <p:sp>
        <p:nvSpPr>
          <p:cNvPr id="24" name="Line 7"/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auto">
          <a:xfrm>
            <a:off x="2854301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sp>
        <p:nvSpPr>
          <p:cNvPr id="25" name="Line 7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5938837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cxnSp>
        <p:nvCxnSpPr>
          <p:cNvPr id="27" name="Gerade Verbindung 26"/>
          <p:cNvCxnSpPr/>
          <p:nvPr userDrawn="1"/>
        </p:nvCxnSpPr>
        <p:spPr bwMode="auto">
          <a:xfrm rot="5400000">
            <a:off x="8058180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Gerade Verbindung 27"/>
          <p:cNvCxnSpPr/>
          <p:nvPr userDrawn="1"/>
        </p:nvCxnSpPr>
        <p:spPr bwMode="auto">
          <a:xfrm rot="5400000">
            <a:off x="6854045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Textplatzhalter 14"/>
          <p:cNvSpPr>
            <a:spLocks noGrp="1"/>
          </p:cNvSpPr>
          <p:nvPr>
            <p:ph type="body" sz="quarter" idx="10"/>
          </p:nvPr>
        </p:nvSpPr>
        <p:spPr/>
        <p:txBody>
          <a:bodyPr/>
          <a:lstStyle>
            <a:lvl1pPr marL="0" indent="0">
              <a:buNone/>
              <a:defRPr sz="1600"/>
            </a:lvl1pPr>
            <a:lvl2pPr marL="0" indent="0"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None/>
              <a:defRPr sz="1600">
                <a:solidFill>
                  <a:schemeClr val="accent1"/>
                </a:solidFill>
              </a:defRPr>
            </a:lvl3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16" name="Datumsplatzhalter 1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790E85F-1F0D-4DDB-A085-909767E546A3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‹Nr.›</a:t>
            </a:fld>
            <a:endParaRPr lang="de-CH" noProof="0" dirty="0"/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de-CH" dirty="0"/>
          </a:p>
        </p:txBody>
      </p:sp>
      <p:pic>
        <p:nvPicPr>
          <p:cNvPr id="14" name="Grafik 13" descr="BalSoBa_blue_rgb.tif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09891" y="6379872"/>
            <a:ext cx="2124554" cy="252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61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40425" y="6357958"/>
            <a:ext cx="100491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90000" rIns="72000" bIns="90000"/>
          <a:lstStyle/>
          <a:p>
            <a:pPr eaLnBrk="0" hangingPunct="0">
              <a:defRPr/>
            </a:pPr>
            <a:r>
              <a:rPr lang="de-CH" sz="800" noProof="0" dirty="0" smtClean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rPr>
              <a:t>www.baloise.ch</a:t>
            </a:r>
            <a:endParaRPr lang="de-CH" sz="800" noProof="0" dirty="0">
              <a:solidFill>
                <a:schemeClr val="tx2"/>
              </a:solidFill>
              <a:latin typeface="Arial" charset="0"/>
              <a:ea typeface="ヒラギノ角ゴ Pro W3" pitchFamily="36" charset="-128"/>
              <a:cs typeface="+mn-cs"/>
            </a:endParaRPr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611188" y="692150"/>
            <a:ext cx="792321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itelmasterformat durch Klicken bearbeiten</a:t>
            </a:r>
            <a:endParaRPr lang="de-CH" noProof="0" smtClean="0"/>
          </a:p>
        </p:txBody>
      </p:sp>
      <p:sp>
        <p:nvSpPr>
          <p:cNvPr id="24" name="Line 7"/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auto">
          <a:xfrm>
            <a:off x="2854301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sp>
        <p:nvSpPr>
          <p:cNvPr id="25" name="Line 7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5938837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cxnSp>
        <p:nvCxnSpPr>
          <p:cNvPr id="27" name="Gerade Verbindung 26"/>
          <p:cNvCxnSpPr/>
          <p:nvPr userDrawn="1"/>
        </p:nvCxnSpPr>
        <p:spPr bwMode="auto">
          <a:xfrm rot="5400000">
            <a:off x="8058180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Gerade Verbindung 27"/>
          <p:cNvCxnSpPr/>
          <p:nvPr userDrawn="1"/>
        </p:nvCxnSpPr>
        <p:spPr bwMode="auto">
          <a:xfrm rot="5400000">
            <a:off x="6854045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Datumsplatzhalter 1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790E85F-1F0D-4DDB-A085-909767E546A3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‹Nr.›</a:t>
            </a:fld>
            <a:endParaRPr lang="de-CH" noProof="0" dirty="0"/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de-CH" dirty="0"/>
          </a:p>
        </p:txBody>
      </p:sp>
      <p:pic>
        <p:nvPicPr>
          <p:cNvPr id="14" name="Grafik 13" descr="BalSoBa_blue_rgb.tif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09891" y="6379872"/>
            <a:ext cx="2124554" cy="252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übersic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 bwMode="auto">
          <a:xfrm>
            <a:off x="0" y="6165850"/>
            <a:ext cx="9144000" cy="69215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 noProof="0" dirty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graphicFrame>
        <p:nvGraphicFramePr>
          <p:cNvPr id="2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337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platzhalter 22"/>
          <p:cNvSpPr>
            <a:spLocks noGrp="1"/>
          </p:cNvSpPr>
          <p:nvPr>
            <p:ph type="body" sz="quarter" idx="17"/>
          </p:nvPr>
        </p:nvSpPr>
        <p:spPr>
          <a:xfrm>
            <a:off x="611188" y="692150"/>
            <a:ext cx="7921625" cy="5041900"/>
          </a:xfrm>
        </p:spPr>
        <p:txBody>
          <a:bodyPr>
            <a:normAutofit/>
          </a:bodyPr>
          <a:lstStyle>
            <a:lvl1pPr marL="360000" indent="-360000">
              <a:spcBef>
                <a:spcPts val="0"/>
              </a:spcBef>
              <a:buNone/>
              <a:tabLst>
                <a:tab pos="358775" algn="l"/>
              </a:tabLst>
              <a:defRPr sz="2100" b="1">
                <a:solidFill>
                  <a:schemeClr val="tx2"/>
                </a:solidFill>
              </a:defRPr>
            </a:lvl1pPr>
            <a:lvl2pPr marL="360000" indent="0">
              <a:spcBef>
                <a:spcPts val="0"/>
              </a:spcBef>
              <a:buNone/>
              <a:tabLst/>
              <a:defRPr sz="2100">
                <a:solidFill>
                  <a:schemeClr val="tx2"/>
                </a:solidFill>
              </a:defRPr>
            </a:lvl2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</p:txBody>
      </p:sp>
      <p:sp>
        <p:nvSpPr>
          <p:cNvPr id="24" name="Rectangle 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40425" y="6357958"/>
            <a:ext cx="100491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90000" rIns="72000" bIns="90000"/>
          <a:lstStyle/>
          <a:p>
            <a:pPr eaLnBrk="0" hangingPunct="0">
              <a:defRPr/>
            </a:pPr>
            <a:r>
              <a:rPr lang="de-CH" sz="800" noProof="0" dirty="0" smtClean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rPr>
              <a:t>www.baloise.ch</a:t>
            </a:r>
            <a:endParaRPr lang="de-CH" sz="800" noProof="0" dirty="0">
              <a:solidFill>
                <a:schemeClr val="tx2"/>
              </a:solidFill>
              <a:latin typeface="Arial" charset="0"/>
              <a:ea typeface="ヒラギノ角ゴ Pro W3" pitchFamily="36" charset="-128"/>
              <a:cs typeface="+mn-cs"/>
            </a:endParaRPr>
          </a:p>
        </p:txBody>
      </p:sp>
      <p:sp>
        <p:nvSpPr>
          <p:cNvPr id="28" name="Line 7"/>
          <p:cNvSpPr>
            <a:spLocks noChangeShapeType="1"/>
          </p:cNvSpPr>
          <p:nvPr userDrawn="1">
            <p:custDataLst>
              <p:tags r:id="rId4"/>
            </p:custDataLst>
          </p:nvPr>
        </p:nvSpPr>
        <p:spPr bwMode="auto">
          <a:xfrm>
            <a:off x="2854301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sp>
        <p:nvSpPr>
          <p:cNvPr id="29" name="Line 7"/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auto">
          <a:xfrm>
            <a:off x="5938837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cxnSp>
        <p:nvCxnSpPr>
          <p:cNvPr id="30" name="Gerade Verbindung 29"/>
          <p:cNvCxnSpPr/>
          <p:nvPr userDrawn="1"/>
        </p:nvCxnSpPr>
        <p:spPr bwMode="auto">
          <a:xfrm rot="5400000">
            <a:off x="8058180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Gerade Verbindung 30"/>
          <p:cNvCxnSpPr/>
          <p:nvPr userDrawn="1"/>
        </p:nvCxnSpPr>
        <p:spPr bwMode="auto">
          <a:xfrm rot="5400000">
            <a:off x="6854045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2" name="Datumsplatzhalter 3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defRPr/>
            </a:pPr>
            <a:fld id="{A521C20E-ED6B-4BD8-A498-F3599D4535F7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33" name="Foliennummernplatzhalter 3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‹Nr.›</a:t>
            </a:fld>
            <a:endParaRPr lang="de-CH" noProof="0" dirty="0"/>
          </a:p>
        </p:txBody>
      </p:sp>
      <p:sp>
        <p:nvSpPr>
          <p:cNvPr id="34" name="Fußzeilenplatzhalter 3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de-CH" dirty="0"/>
          </a:p>
        </p:txBody>
      </p:sp>
      <p:pic>
        <p:nvPicPr>
          <p:cNvPr id="15" name="Grafik 14" descr="BalSoBa_blue_rgb.tif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09891" y="6379872"/>
            <a:ext cx="2124554" cy="252000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0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tags" Target="../tags/tag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8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Relationship Id="rId22" Type="http://schemas.openxmlformats.org/officeDocument/2006/relationships/image" Target="../media/image1.tif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fik 18" descr="BalSoBa_blue_rgb.tif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09891" y="6379872"/>
            <a:ext cx="2124554" cy="252000"/>
          </a:xfrm>
          <a:prstGeom prst="rect">
            <a:avLst/>
          </a:prstGeom>
        </p:spPr>
      </p:pic>
      <p:graphicFrame>
        <p:nvGraphicFramePr>
          <p:cNvPr id="1026" name="Rectangle 13" hidden="1"/>
          <p:cNvGraphicFramePr>
            <a:graphicFrameLocks/>
          </p:cNvGraphicFramePr>
          <p:nvPr>
            <p:custDataLst>
              <p:tags r:id="rId1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" name="think-cell Slide" r:id="rId23" imgW="0" imgH="0" progId="">
                  <p:embed/>
                </p:oleObj>
              </mc:Choice>
              <mc:Fallback>
                <p:oleObj name="think-cell Slide" r:id="rId23" imgW="0" imgH="0" progId="">
                  <p:embed/>
                  <p:pic>
                    <p:nvPicPr>
                      <p:cNvPr id="0" name="Rectangle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4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5940425" y="6357958"/>
            <a:ext cx="100491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90000" rIns="72000" bIns="90000"/>
          <a:lstStyle/>
          <a:p>
            <a:pPr eaLnBrk="0" hangingPunct="0">
              <a:defRPr/>
            </a:pPr>
            <a:r>
              <a:rPr lang="de-CH" sz="800" noProof="0" smtClean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rPr>
              <a:t>www.baloise.ch</a:t>
            </a:r>
            <a:endParaRPr lang="de-CH" sz="800" noProof="0">
              <a:solidFill>
                <a:schemeClr val="tx2"/>
              </a:solidFill>
              <a:latin typeface="Arial" charset="0"/>
              <a:ea typeface="ヒラギノ角ゴ Pro W3" pitchFamily="36" charset="-128"/>
              <a:cs typeface="+mn-cs"/>
            </a:endParaRPr>
          </a:p>
        </p:txBody>
      </p:sp>
      <p:sp>
        <p:nvSpPr>
          <p:cNvPr id="1029" name="Rectangle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611188" y="692150"/>
            <a:ext cx="792321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 smtClean="0"/>
              <a:t>Mastertitelformat bearbeiten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611187" y="1844674"/>
            <a:ext cx="7921626" cy="432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 smtClean="0"/>
              <a:t>Mastertextformat bearbeiten</a:t>
            </a:r>
          </a:p>
          <a:p>
            <a:pPr lvl="1"/>
            <a:r>
              <a:rPr lang="de-CH" noProof="0" smtClean="0"/>
              <a:t>Zweite Ebene</a:t>
            </a:r>
          </a:p>
          <a:p>
            <a:pPr lvl="2"/>
            <a:r>
              <a:rPr lang="de-CH" noProof="0" smtClean="0"/>
              <a:t>Drit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  <p:custDataLst>
              <p:tags r:id="rId17"/>
            </p:custDataLst>
          </p:nvPr>
        </p:nvSpPr>
        <p:spPr bwMode="auto">
          <a:xfrm>
            <a:off x="6945344" y="6357958"/>
            <a:ext cx="120492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90000" rIns="72000" bIns="9000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80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fld id="{39E4B9E7-13B1-4F96-88D4-5D9D13F4F742}" type="datetime4">
              <a:rPr lang="de-CH" noProof="0" smtClean="0"/>
              <a:pPr>
                <a:defRPr/>
              </a:pPr>
              <a:t>16. September 2016</a:t>
            </a:fld>
            <a:endParaRPr lang="de-CH" noProof="0"/>
          </a:p>
        </p:txBody>
      </p:sp>
      <p:sp>
        <p:nvSpPr>
          <p:cNvPr id="2" name="Rectangle 5"/>
          <p:cNvSpPr>
            <a:spLocks noGrp="1" noChangeArrowheads="1"/>
          </p:cNvSpPr>
          <p:nvPr>
            <p:ph type="ftr" sz="quarter" idx="3"/>
            <p:custDataLst>
              <p:tags r:id="rId18"/>
            </p:custDataLst>
          </p:nvPr>
        </p:nvSpPr>
        <p:spPr bwMode="auto">
          <a:xfrm>
            <a:off x="2855889" y="6357958"/>
            <a:ext cx="3084534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90000" rIns="72000" bIns="9000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80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endParaRPr lang="de-CH" noProof="0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8150274" y="6357958"/>
            <a:ext cx="38253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90000" rIns="0" bIns="9000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800" baseline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‹Nr.›</a:t>
            </a:fld>
            <a:endParaRPr lang="de-CH" noProof="0"/>
          </a:p>
        </p:txBody>
      </p:sp>
      <p:sp>
        <p:nvSpPr>
          <p:cNvPr id="17" name="Line 7"/>
          <p:cNvSpPr>
            <a:spLocks noChangeShapeType="1"/>
          </p:cNvSpPr>
          <p:nvPr>
            <p:custDataLst>
              <p:tags r:id="rId20"/>
            </p:custDataLst>
          </p:nvPr>
        </p:nvSpPr>
        <p:spPr bwMode="auto">
          <a:xfrm>
            <a:off x="2854301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sp>
        <p:nvSpPr>
          <p:cNvPr id="13" name="Line 7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5938837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cxnSp>
        <p:nvCxnSpPr>
          <p:cNvPr id="16" name="Gerade Verbindung 15"/>
          <p:cNvCxnSpPr/>
          <p:nvPr/>
        </p:nvCxnSpPr>
        <p:spPr bwMode="auto">
          <a:xfrm rot="5400000">
            <a:off x="8058180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Gerade Verbindung 20"/>
          <p:cNvCxnSpPr/>
          <p:nvPr/>
        </p:nvCxnSpPr>
        <p:spPr bwMode="auto">
          <a:xfrm rot="5400000">
            <a:off x="6854045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4" r:id="rId2"/>
    <p:sldLayoutId id="2147483722" r:id="rId3"/>
    <p:sldLayoutId id="2147483728" r:id="rId4"/>
    <p:sldLayoutId id="2147483730" r:id="rId5"/>
    <p:sldLayoutId id="2147483729" r:id="rId6"/>
    <p:sldLayoutId id="2147483725" r:id="rId7"/>
    <p:sldLayoutId id="2147483732" r:id="rId8"/>
    <p:sldLayoutId id="2147483727" r:id="rId9"/>
    <p:sldLayoutId id="2147483731" r:id="rId10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15" charset="0"/>
          <a:ea typeface="ヒラギノ角ゴ Pro W3" pitchFamily="15" charset="-128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15" charset="0"/>
          <a:ea typeface="ヒラギノ角ゴ Pro W3" pitchFamily="15" charset="-128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15" charset="0"/>
          <a:ea typeface="ヒラギノ角ゴ Pro W3" pitchFamily="15" charset="-128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15" charset="0"/>
          <a:ea typeface="ヒラギノ角ゴ Pro W3" pitchFamily="15" charset="-128"/>
          <a:cs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15" charset="0"/>
          <a:ea typeface="ヒラギノ角ゴ Pro W3" pitchFamily="15" charset="-128"/>
          <a:cs typeface="ヒラギノ角ゴ Pro W3" pitchFamily="15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15" charset="0"/>
          <a:ea typeface="ヒラギノ角ゴ Pro W3" pitchFamily="15" charset="-128"/>
          <a:cs typeface="ヒラギノ角ゴ Pro W3" pitchFamily="15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15" charset="0"/>
          <a:ea typeface="ヒラギノ角ゴ Pro W3" pitchFamily="15" charset="-128"/>
          <a:cs typeface="ヒラギノ角ゴ Pro W3" pitchFamily="15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15" charset="0"/>
          <a:ea typeface="ヒラギノ角ゴ Pro W3" pitchFamily="15" charset="-128"/>
          <a:cs typeface="ヒラギノ角ゴ Pro W3" pitchFamily="15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à"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–"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Symbol" pitchFamily="18" charset="2"/>
        <a:buChar char="-"/>
        <a:defRPr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5621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00">
          <a:solidFill>
            <a:schemeClr val="tx1"/>
          </a:solidFill>
          <a:latin typeface="+mn-lt"/>
          <a:ea typeface="+mn-ea"/>
          <a:cs typeface="+mn-cs"/>
        </a:defRPr>
      </a:lvl4pPr>
      <a:lvl5pPr marL="19812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1000">
          <a:solidFill>
            <a:schemeClr val="tx1"/>
          </a:solidFill>
          <a:latin typeface="+mn-lt"/>
          <a:ea typeface="+mn-ea"/>
          <a:cs typeface="+mn-cs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1000">
          <a:solidFill>
            <a:schemeClr val="tx1"/>
          </a:solidFill>
          <a:latin typeface="+mn-lt"/>
          <a:ea typeface="+mn-ea"/>
          <a:cs typeface="+mn-cs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1000">
          <a:solidFill>
            <a:schemeClr val="tx1"/>
          </a:solidFill>
          <a:latin typeface="+mn-lt"/>
          <a:ea typeface="+mn-ea"/>
          <a:cs typeface="+mn-cs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1000">
          <a:solidFill>
            <a:schemeClr val="tx1"/>
          </a:solidFill>
          <a:latin typeface="+mn-lt"/>
          <a:ea typeface="+mn-ea"/>
          <a:cs typeface="+mn-cs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1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image" Target="../media/image17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17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Relationship Id="rId9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3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3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38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17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39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17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4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4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7" Type="http://schemas.openxmlformats.org/officeDocument/2006/relationships/image" Target="../media/image52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17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10" Type="http://schemas.openxmlformats.org/officeDocument/2006/relationships/image" Target="../media/image27.pn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17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4.png"/><Relationship Id="rId5" Type="http://schemas.openxmlformats.org/officeDocument/2006/relationships/image" Target="../media/image29.jpeg"/><Relationship Id="rId4" Type="http://schemas.openxmlformats.org/officeDocument/2006/relationships/image" Target="../media/image28.jpeg"/><Relationship Id="rId9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Szene Eigenheim-Kauf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1D5045D-E444-4A71-A071-A5B8BAD35080}" type="datetime4">
              <a:rPr lang="de-CH" noProof="0" smtClean="0"/>
              <a:pPr>
                <a:defRPr/>
              </a:pPr>
              <a:t>17. September 2016</a:t>
            </a:fld>
            <a:endParaRPr lang="de-CH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1</a:t>
            </a:fld>
            <a:endParaRPr lang="de-CH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endParaRPr lang="de-CH" dirty="0"/>
          </a:p>
        </p:txBody>
      </p:sp>
      <p:pic>
        <p:nvPicPr>
          <p:cNvPr id="64307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2"/>
          <a:stretch/>
        </p:blipFill>
        <p:spPr bwMode="auto">
          <a:xfrm>
            <a:off x="0" y="476672"/>
            <a:ext cx="8891464" cy="609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Abgerundete rechteckige Legende 6"/>
          <p:cNvSpPr/>
          <p:nvPr/>
        </p:nvSpPr>
        <p:spPr bwMode="auto">
          <a:xfrm>
            <a:off x="467544" y="1556792"/>
            <a:ext cx="1794044" cy="432048"/>
          </a:xfrm>
          <a:prstGeom prst="wedgeRoundRectCallout">
            <a:avLst>
              <a:gd name="adj1" fmla="val 63910"/>
              <a:gd name="adj2" fmla="val 45765"/>
              <a:gd name="adj3" fmla="val 16667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rPr>
              <a:t>Cooles Haus!</a:t>
            </a:r>
            <a:endParaRPr kumimoji="0" lang="de-CH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8" name="Abgerundete rechteckige Legende 7"/>
          <p:cNvSpPr/>
          <p:nvPr/>
        </p:nvSpPr>
        <p:spPr bwMode="auto">
          <a:xfrm>
            <a:off x="7452320" y="1827788"/>
            <a:ext cx="1656184" cy="872614"/>
          </a:xfrm>
          <a:prstGeom prst="wedgeRoundRectCallout">
            <a:avLst>
              <a:gd name="adj1" fmla="val -64488"/>
              <a:gd name="adj2" fmla="val 45765"/>
              <a:gd name="adj3" fmla="val 16667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rPr>
              <a:t>Hm, meines ist aber auch ganz hübsch!</a:t>
            </a:r>
            <a:endParaRPr kumimoji="0" lang="de-CH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9" name="Abgerundete rechteckige Legende 8"/>
          <p:cNvSpPr/>
          <p:nvPr/>
        </p:nvSpPr>
        <p:spPr bwMode="auto">
          <a:xfrm>
            <a:off x="467544" y="2484378"/>
            <a:ext cx="1794044" cy="656590"/>
          </a:xfrm>
          <a:prstGeom prst="wedgeRoundRectCallout">
            <a:avLst>
              <a:gd name="adj1" fmla="val 64503"/>
              <a:gd name="adj2" fmla="val 423"/>
              <a:gd name="adj3" fmla="val 16667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600" dirty="0" smtClean="0">
                <a:latin typeface="Arial" pitchFamily="15" charset="0"/>
                <a:ea typeface="ヒラギノ角ゴ Pro W3" pitchFamily="15" charset="-128"/>
                <a:cs typeface="ヒラギノ角ゴ Pro W3" pitchFamily="15" charset="-128"/>
              </a:rPr>
              <a:t>Hat deines auch einen Pool?</a:t>
            </a:r>
            <a:endParaRPr kumimoji="0" lang="de-CH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10" name="Abgerundete rechteckige Legende 9"/>
          <p:cNvSpPr/>
          <p:nvPr/>
        </p:nvSpPr>
        <p:spPr bwMode="auto">
          <a:xfrm>
            <a:off x="7452320" y="3140968"/>
            <a:ext cx="1656184" cy="720080"/>
          </a:xfrm>
          <a:prstGeom prst="wedgeRoundRectCallout">
            <a:avLst>
              <a:gd name="adj1" fmla="val -74760"/>
              <a:gd name="adj2" fmla="val -33970"/>
              <a:gd name="adj3" fmla="val 16667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rPr>
              <a:t>Nein, aber drei Badezimmer.</a:t>
            </a:r>
            <a:endParaRPr kumimoji="0" lang="de-CH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11" name="Abgerundete rechteckige Legende 10"/>
          <p:cNvSpPr/>
          <p:nvPr/>
        </p:nvSpPr>
        <p:spPr bwMode="auto">
          <a:xfrm>
            <a:off x="526945" y="4452984"/>
            <a:ext cx="1794044" cy="1424288"/>
          </a:xfrm>
          <a:prstGeom prst="wedgeRoundRectCallout">
            <a:avLst>
              <a:gd name="adj1" fmla="val 62132"/>
              <a:gd name="adj2" fmla="val -33366"/>
              <a:gd name="adj3" fmla="val 16667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600" dirty="0" smtClean="0">
                <a:latin typeface="Arial" pitchFamily="15" charset="0"/>
                <a:ea typeface="ヒラギノ角ゴ Pro W3" pitchFamily="15" charset="-128"/>
                <a:cs typeface="ヒラギノ角ゴ Pro W3" pitchFamily="15" charset="-128"/>
              </a:rPr>
              <a:t>Keine Ahnung. Aber können wir uns deines überhaupt leisten?</a:t>
            </a:r>
            <a:endParaRPr kumimoji="0" lang="de-CH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12" name="Abgerundete rechteckige Legende 11"/>
          <p:cNvSpPr/>
          <p:nvPr/>
        </p:nvSpPr>
        <p:spPr bwMode="auto">
          <a:xfrm>
            <a:off x="7452320" y="5313232"/>
            <a:ext cx="1656184" cy="1068095"/>
          </a:xfrm>
          <a:prstGeom prst="wedgeRoundRectCallout">
            <a:avLst>
              <a:gd name="adj1" fmla="val -74760"/>
              <a:gd name="adj2" fmla="val -79744"/>
              <a:gd name="adj3" fmla="val 16667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rPr>
              <a:t>Musst du wissen, ich will drei</a:t>
            </a:r>
            <a:r>
              <a:rPr kumimoji="0" lang="de-CH" sz="16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rPr>
              <a:t> Badezimmer!</a:t>
            </a:r>
            <a:endParaRPr kumimoji="0" lang="de-CH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13" name="Abgerundete rechteckige Legende 12"/>
          <p:cNvSpPr/>
          <p:nvPr/>
        </p:nvSpPr>
        <p:spPr bwMode="auto">
          <a:xfrm>
            <a:off x="536474" y="3501008"/>
            <a:ext cx="1794044" cy="600456"/>
          </a:xfrm>
          <a:prstGeom prst="wedgeRoundRectCallout">
            <a:avLst>
              <a:gd name="adj1" fmla="val 65688"/>
              <a:gd name="adj2" fmla="val -44543"/>
              <a:gd name="adj3" fmla="val 16667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600" dirty="0" smtClean="0">
                <a:latin typeface="Arial" pitchFamily="15" charset="0"/>
                <a:ea typeface="ヒラギノ角ゴ Pro W3" pitchFamily="15" charset="-128"/>
                <a:cs typeface="ヒラギノ角ゴ Pro W3" pitchFamily="15" charset="-128"/>
              </a:rPr>
              <a:t>Wozu drei Badezimmer?</a:t>
            </a:r>
            <a:endParaRPr kumimoji="0" lang="de-CH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14" name="Abgerundete rechteckige Legende 13"/>
          <p:cNvSpPr/>
          <p:nvPr/>
        </p:nvSpPr>
        <p:spPr bwMode="auto">
          <a:xfrm>
            <a:off x="7452320" y="4101464"/>
            <a:ext cx="1656184" cy="1055728"/>
          </a:xfrm>
          <a:prstGeom prst="wedgeRoundRectCallout">
            <a:avLst>
              <a:gd name="adj1" fmla="val -72192"/>
              <a:gd name="adj2" fmla="val -52934"/>
              <a:gd name="adj3" fmla="val 16667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600" dirty="0" smtClean="0">
                <a:latin typeface="Arial" pitchFamily="15" charset="0"/>
                <a:ea typeface="ヒラギノ角ゴ Pro W3" pitchFamily="15" charset="-128"/>
                <a:cs typeface="ヒラギノ角ゴ Pro W3" pitchFamily="15" charset="-128"/>
              </a:rPr>
              <a:t>Von deinem hast du doch zu lange zur Arbeit!?!</a:t>
            </a:r>
            <a:endParaRPr kumimoji="0" lang="de-CH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96470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 bwMode="auto">
          <a:xfrm>
            <a:off x="3347864" y="1309811"/>
            <a:ext cx="70532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de-CH" sz="1800" b="1" dirty="0" smtClean="0">
                <a:solidFill>
                  <a:srgbClr val="000000"/>
                </a:solidFill>
              </a:rPr>
              <a:t>Küche</a:t>
            </a:r>
            <a:endParaRPr lang="de-CH" sz="1800" b="1" dirty="0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3203848" y="1700808"/>
            <a:ext cx="2736304" cy="417646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grpSp>
        <p:nvGrpSpPr>
          <p:cNvPr id="5" name="Gruppieren 4"/>
          <p:cNvGrpSpPr/>
          <p:nvPr/>
        </p:nvGrpSpPr>
        <p:grpSpPr>
          <a:xfrm>
            <a:off x="3764645" y="4850317"/>
            <a:ext cx="1599444" cy="936104"/>
            <a:chOff x="3764645" y="4850317"/>
            <a:chExt cx="1599444" cy="936104"/>
          </a:xfrm>
        </p:grpSpPr>
        <p:sp>
          <p:nvSpPr>
            <p:cNvPr id="3" name="Rechteck 2"/>
            <p:cNvSpPr/>
            <p:nvPr/>
          </p:nvSpPr>
          <p:spPr bwMode="auto">
            <a:xfrm>
              <a:off x="3764645" y="4850317"/>
              <a:ext cx="1599444" cy="936104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  <p:pic>
          <p:nvPicPr>
            <p:cNvPr id="628741" name="Picture 5" descr="\\BALGROUPIT.COM\U_DATA\CH\SOB\BAS1\b036702\Desktop\Hackathon\Love.PNG"/>
            <p:cNvPicPr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89110" y="5368472"/>
              <a:ext cx="349099" cy="343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8742" name="Picture 6" descr="\\BALGROUPIT.COM\U_DATA\CH\SOB\BAS1\b036702\Desktop\Hackathon\Smile_gut.PNG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2019" y="4914588"/>
              <a:ext cx="378808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8743" name="Picture 7" descr="\\BALGROUPIT.COM\U_DATA\CH\SOB\BAS1\b036702\Desktop\Hackathon\Smile_schlecht.PNG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7511" y="4914588"/>
              <a:ext cx="385965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8744" name="Picture 8" descr="\\BALGROUPIT.COM\U_DATA\CH\SOB\BAS1\b036702\Desktop\Hackathon\Renovieren.PNG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7511" y="5346779"/>
              <a:ext cx="365161" cy="3651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32834" name="Picture 2" descr="\\BALGROUPIT.COM\U_DATA\CH\SOB\BAS1\b036702\Desktop\Hackathon\Kueche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2031" y="1845172"/>
            <a:ext cx="2484105" cy="1653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1118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 bwMode="auto">
          <a:xfrm>
            <a:off x="3347864" y="1309811"/>
            <a:ext cx="150041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de-CH" sz="1800" b="1" dirty="0" smtClean="0">
                <a:solidFill>
                  <a:srgbClr val="000000"/>
                </a:solidFill>
              </a:rPr>
              <a:t>Schlafzimmer</a:t>
            </a:r>
            <a:endParaRPr lang="de-CH" sz="1800" b="1" dirty="0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3203848" y="1700808"/>
            <a:ext cx="2736304" cy="417646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grpSp>
        <p:nvGrpSpPr>
          <p:cNvPr id="5" name="Gruppieren 4"/>
          <p:cNvGrpSpPr/>
          <p:nvPr/>
        </p:nvGrpSpPr>
        <p:grpSpPr>
          <a:xfrm>
            <a:off x="3764645" y="4850317"/>
            <a:ext cx="1599444" cy="936104"/>
            <a:chOff x="3764645" y="4850317"/>
            <a:chExt cx="1599444" cy="936104"/>
          </a:xfrm>
        </p:grpSpPr>
        <p:sp>
          <p:nvSpPr>
            <p:cNvPr id="3" name="Rechteck 2"/>
            <p:cNvSpPr/>
            <p:nvPr/>
          </p:nvSpPr>
          <p:spPr bwMode="auto">
            <a:xfrm>
              <a:off x="3764645" y="4850317"/>
              <a:ext cx="1599444" cy="936104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  <p:pic>
          <p:nvPicPr>
            <p:cNvPr id="628741" name="Picture 5" descr="\\BALGROUPIT.COM\U_DATA\CH\SOB\BAS1\b036702\Desktop\Hackathon\Love.PNG"/>
            <p:cNvPicPr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89110" y="5368472"/>
              <a:ext cx="349099" cy="343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8742" name="Picture 6" descr="\\BALGROUPIT.COM\U_DATA\CH\SOB\BAS1\b036702\Desktop\Hackathon\Smile_gut.PNG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2019" y="4914588"/>
              <a:ext cx="378808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8743" name="Picture 7" descr="\\BALGROUPIT.COM\U_DATA\CH\SOB\BAS1\b036702\Desktop\Hackathon\Smile_schlecht.PNG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7511" y="4914588"/>
              <a:ext cx="385965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8744" name="Picture 8" descr="\\BALGROUPIT.COM\U_DATA\CH\SOB\BAS1\b036702\Desktop\Hackathon\Renovieren.PNG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7511" y="5346779"/>
              <a:ext cx="365161" cy="3651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" name="Rechteck 15"/>
          <p:cNvSpPr/>
          <p:nvPr/>
        </p:nvSpPr>
        <p:spPr bwMode="auto">
          <a:xfrm>
            <a:off x="3764644" y="3030475"/>
            <a:ext cx="1599444" cy="93610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30786" name="Picture 2" descr="\\BALGROUPIT.COM\U_DATA\CH\SOB\BAS1\b036702\Desktop\Hackathon\upload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3935" y="3208015"/>
            <a:ext cx="723900" cy="581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0787" name="Picture 3" descr="\\BALGROUPIT.COM\U_DATA\CH\SOB\BAS1\b036702\Desktop\Hackathon\Kamera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3146" y="3208015"/>
            <a:ext cx="581025" cy="581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3203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 bwMode="auto">
          <a:xfrm>
            <a:off x="3347864" y="1309811"/>
            <a:ext cx="129522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de-CH" sz="1800" b="1" dirty="0" smtClean="0">
                <a:solidFill>
                  <a:srgbClr val="000000"/>
                </a:solidFill>
              </a:rPr>
              <a:t>Grundstück</a:t>
            </a:r>
            <a:endParaRPr lang="de-CH" sz="1800" b="1" dirty="0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3203848" y="1700808"/>
            <a:ext cx="2736304" cy="417646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grpSp>
        <p:nvGrpSpPr>
          <p:cNvPr id="7" name="Gruppieren 6"/>
          <p:cNvGrpSpPr/>
          <p:nvPr/>
        </p:nvGrpSpPr>
        <p:grpSpPr>
          <a:xfrm>
            <a:off x="3764645" y="4850960"/>
            <a:ext cx="1599444" cy="936104"/>
            <a:chOff x="3764645" y="4850960"/>
            <a:chExt cx="1599444" cy="936104"/>
          </a:xfrm>
        </p:grpSpPr>
        <p:sp>
          <p:nvSpPr>
            <p:cNvPr id="3" name="Rechteck 2"/>
            <p:cNvSpPr/>
            <p:nvPr/>
          </p:nvSpPr>
          <p:spPr bwMode="auto">
            <a:xfrm>
              <a:off x="3764645" y="4850960"/>
              <a:ext cx="1599444" cy="936104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  <p:pic>
          <p:nvPicPr>
            <p:cNvPr id="628741" name="Picture 5" descr="\\BALGROUPIT.COM\U_DATA\CH\SOB\BAS1\b036702\Desktop\Hackathon\Love.PNG"/>
            <p:cNvPicPr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7984" y="5373216"/>
              <a:ext cx="349099" cy="343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8742" name="Picture 6" descr="\\BALGROUPIT.COM\U_DATA\CH\SOB\BAS1\b036702\Desktop\Hackathon\Smile_gut.PNG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2019" y="4915231"/>
              <a:ext cx="378808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8743" name="Picture 7" descr="\\BALGROUPIT.COM\U_DATA\CH\SOB\BAS1\b036702\Desktop\Hackathon\Smile_schlecht.PNG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7511" y="4915231"/>
              <a:ext cx="385965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31810" name="Picture 2" descr="\\BALGROUPIT.COM\U_DATA\CH\SOB\BAS1\b036702\Desktop\Hackathon\Grundstück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1844824"/>
            <a:ext cx="2483039" cy="2735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1383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 bwMode="auto">
          <a:xfrm>
            <a:off x="3347864" y="1309811"/>
            <a:ext cx="111569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de-CH" sz="1800" b="1" dirty="0" smtClean="0">
                <a:solidFill>
                  <a:srgbClr val="000000"/>
                </a:solidFill>
              </a:rPr>
              <a:t>Gemeinde</a:t>
            </a:r>
            <a:endParaRPr lang="de-CH" sz="1800" b="1" dirty="0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3203848" y="1700808"/>
            <a:ext cx="2736304" cy="417646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33858" name="Picture 2" descr="\\BALGROUPIT.COM\U_DATA\CH\SOB\BAS1\b036702\Desktop\Hackathon\Gemeinde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6279" y="1982454"/>
            <a:ext cx="2389857" cy="2562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uppieren 13"/>
          <p:cNvGrpSpPr/>
          <p:nvPr/>
        </p:nvGrpSpPr>
        <p:grpSpPr>
          <a:xfrm>
            <a:off x="3764645" y="4850960"/>
            <a:ext cx="1599444" cy="936104"/>
            <a:chOff x="3764645" y="4850960"/>
            <a:chExt cx="1599444" cy="936104"/>
          </a:xfrm>
        </p:grpSpPr>
        <p:sp>
          <p:nvSpPr>
            <p:cNvPr id="15" name="Rechteck 14"/>
            <p:cNvSpPr/>
            <p:nvPr/>
          </p:nvSpPr>
          <p:spPr bwMode="auto">
            <a:xfrm>
              <a:off x="3764645" y="4850960"/>
              <a:ext cx="1599444" cy="936104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  <p:pic>
          <p:nvPicPr>
            <p:cNvPr id="16" name="Picture 5" descr="\\BALGROUPIT.COM\U_DATA\CH\SOB\BAS1\b036702\Desktop\Hackathon\Love.PNG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7984" y="5373216"/>
              <a:ext cx="349099" cy="343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6" descr="\\BALGROUPIT.COM\U_DATA\CH\SOB\BAS1\b036702\Desktop\Hackathon\Smile_gut.PNG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2019" y="4915231"/>
              <a:ext cx="378808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7" descr="\\BALGROUPIT.COM\U_DATA\CH\SOB\BAS1\b036702\Desktop\Hackathon\Smile_schlecht.PNG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7511" y="4915231"/>
              <a:ext cx="385965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62338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 bwMode="auto">
          <a:xfrm>
            <a:off x="3347864" y="1309811"/>
            <a:ext cx="124393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de-CH" sz="1800" b="1" dirty="0" smtClean="0">
                <a:solidFill>
                  <a:srgbClr val="000000"/>
                </a:solidFill>
              </a:rPr>
              <a:t>Arbeitsweg</a:t>
            </a:r>
            <a:endParaRPr lang="de-CH" sz="1800" b="1" dirty="0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3203848" y="1700808"/>
            <a:ext cx="2736304" cy="417646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34882" name="Picture 2" descr="\\BALGROUPIT.COM\U_DATA\CH\SOB\BAS1\b036702\Desktop\Hackathon\Arbeitsweg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3293" y="1916832"/>
            <a:ext cx="2478833" cy="2403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uppieren 13"/>
          <p:cNvGrpSpPr/>
          <p:nvPr/>
        </p:nvGrpSpPr>
        <p:grpSpPr>
          <a:xfrm>
            <a:off x="3764645" y="4850960"/>
            <a:ext cx="1599444" cy="936104"/>
            <a:chOff x="3764645" y="4850960"/>
            <a:chExt cx="1599444" cy="936104"/>
          </a:xfrm>
        </p:grpSpPr>
        <p:sp>
          <p:nvSpPr>
            <p:cNvPr id="15" name="Rechteck 14"/>
            <p:cNvSpPr/>
            <p:nvPr/>
          </p:nvSpPr>
          <p:spPr bwMode="auto">
            <a:xfrm>
              <a:off x="3764645" y="4850960"/>
              <a:ext cx="1599444" cy="936104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  <p:pic>
          <p:nvPicPr>
            <p:cNvPr id="16" name="Picture 5" descr="\\BALGROUPIT.COM\U_DATA\CH\SOB\BAS1\b036702\Desktop\Hackathon\Love.PNG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7984" y="5373216"/>
              <a:ext cx="349099" cy="343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6" descr="\\BALGROUPIT.COM\U_DATA\CH\SOB\BAS1\b036702\Desktop\Hackathon\Smile_gut.PNG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2019" y="4915231"/>
              <a:ext cx="378808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7" descr="\\BALGROUPIT.COM\U_DATA\CH\SOB\BAS1\b036702\Desktop\Hackathon\Smile_schlecht.PNG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7511" y="4915231"/>
              <a:ext cx="385965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076094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 bwMode="auto">
          <a:xfrm>
            <a:off x="3347864" y="1309811"/>
            <a:ext cx="75661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de-CH" sz="1800" b="1" dirty="0" smtClean="0">
                <a:solidFill>
                  <a:srgbClr val="000000"/>
                </a:solidFill>
              </a:rPr>
              <a:t>Schule</a:t>
            </a:r>
            <a:endParaRPr lang="de-CH" sz="1800" b="1" dirty="0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3203848" y="1700808"/>
            <a:ext cx="2736304" cy="417646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35906" name="Picture 2" descr="\\BALGROUPIT.COM\U_DATA\CH\SOB\BAS1\b036702\Desktop\Hackathon\Schule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173"/>
          <a:stretch/>
        </p:blipFill>
        <p:spPr bwMode="auto">
          <a:xfrm>
            <a:off x="3426125" y="1844824"/>
            <a:ext cx="2326090" cy="2808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uppieren 13"/>
          <p:cNvGrpSpPr/>
          <p:nvPr/>
        </p:nvGrpSpPr>
        <p:grpSpPr>
          <a:xfrm>
            <a:off x="3764645" y="4850960"/>
            <a:ext cx="1599444" cy="936104"/>
            <a:chOff x="3764645" y="4850960"/>
            <a:chExt cx="1599444" cy="936104"/>
          </a:xfrm>
        </p:grpSpPr>
        <p:sp>
          <p:nvSpPr>
            <p:cNvPr id="15" name="Rechteck 14"/>
            <p:cNvSpPr/>
            <p:nvPr/>
          </p:nvSpPr>
          <p:spPr bwMode="auto">
            <a:xfrm>
              <a:off x="3764645" y="4850960"/>
              <a:ext cx="1599444" cy="936104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  <p:pic>
          <p:nvPicPr>
            <p:cNvPr id="16" name="Picture 5" descr="\\BALGROUPIT.COM\U_DATA\CH\SOB\BAS1\b036702\Desktop\Hackathon\Love.PNG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7984" y="5373216"/>
              <a:ext cx="349099" cy="343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6" descr="\\BALGROUPIT.COM\U_DATA\CH\SOB\BAS1\b036702\Desktop\Hackathon\Smile_gut.PNG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2019" y="4915231"/>
              <a:ext cx="378808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7" descr="\\BALGROUPIT.COM\U_DATA\CH\SOB\BAS1\b036702\Desktop\Hackathon\Smile_schlecht.PNG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7511" y="4915231"/>
              <a:ext cx="385965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4268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 bwMode="auto">
          <a:xfrm>
            <a:off x="3347864" y="1309811"/>
            <a:ext cx="110286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de-CH" sz="1800" b="1" dirty="0" smtClean="0">
                <a:solidFill>
                  <a:srgbClr val="000000"/>
                </a:solidFill>
              </a:rPr>
              <a:t>Einkaufen</a:t>
            </a:r>
            <a:endParaRPr lang="de-CH" sz="1800" b="1" dirty="0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3203848" y="1700808"/>
            <a:ext cx="2736304" cy="417646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37954" name="Picture 2" descr="\\BALGROUPIT.COM\U_DATA\CH\SOB\BAS1\b036702\Desktop\Hackathon\Einkaufen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3868" y="1845634"/>
            <a:ext cx="2376263" cy="2582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uppieren 13"/>
          <p:cNvGrpSpPr/>
          <p:nvPr/>
        </p:nvGrpSpPr>
        <p:grpSpPr>
          <a:xfrm>
            <a:off x="3764645" y="4850960"/>
            <a:ext cx="1599444" cy="936104"/>
            <a:chOff x="3764645" y="4850960"/>
            <a:chExt cx="1599444" cy="936104"/>
          </a:xfrm>
        </p:grpSpPr>
        <p:sp>
          <p:nvSpPr>
            <p:cNvPr id="15" name="Rechteck 14"/>
            <p:cNvSpPr/>
            <p:nvPr/>
          </p:nvSpPr>
          <p:spPr bwMode="auto">
            <a:xfrm>
              <a:off x="3764645" y="4850960"/>
              <a:ext cx="1599444" cy="936104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  <p:pic>
          <p:nvPicPr>
            <p:cNvPr id="16" name="Picture 5" descr="\\BALGROUPIT.COM\U_DATA\CH\SOB\BAS1\b036702\Desktop\Hackathon\Love.PNG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7984" y="5373216"/>
              <a:ext cx="349099" cy="343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6" descr="\\BALGROUPIT.COM\U_DATA\CH\SOB\BAS1\b036702\Desktop\Hackathon\Smile_gut.PNG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2019" y="4915231"/>
              <a:ext cx="378808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7" descr="\\BALGROUPIT.COM\U_DATA\CH\SOB\BAS1\b036702\Desktop\Hackathon\Smile_schlecht.PNG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7511" y="4915231"/>
              <a:ext cx="385965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533237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 bwMode="auto">
          <a:xfrm>
            <a:off x="3347864" y="1309811"/>
            <a:ext cx="242374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de-CH" sz="1800" b="1" dirty="0" smtClean="0">
                <a:solidFill>
                  <a:srgbClr val="000000"/>
                </a:solidFill>
              </a:rPr>
              <a:t>Nachbarschaft - Basis</a:t>
            </a:r>
            <a:endParaRPr lang="de-CH" sz="1800" b="1" dirty="0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3203848" y="1700808"/>
            <a:ext cx="2736304" cy="417646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36930" name="Picture 2" descr="\\BALGROUPIT.COM\U_DATA\CH\SOB\BAS1\b036702\Desktop\Hackathon\Nachbarschaft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8082" y="1878975"/>
            <a:ext cx="2418053" cy="2615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uppieren 13"/>
          <p:cNvGrpSpPr/>
          <p:nvPr/>
        </p:nvGrpSpPr>
        <p:grpSpPr>
          <a:xfrm>
            <a:off x="3764645" y="4850960"/>
            <a:ext cx="1599444" cy="936104"/>
            <a:chOff x="3764645" y="4850960"/>
            <a:chExt cx="1599444" cy="936104"/>
          </a:xfrm>
        </p:grpSpPr>
        <p:sp>
          <p:nvSpPr>
            <p:cNvPr id="15" name="Rechteck 14"/>
            <p:cNvSpPr/>
            <p:nvPr/>
          </p:nvSpPr>
          <p:spPr bwMode="auto">
            <a:xfrm>
              <a:off x="3764645" y="4850960"/>
              <a:ext cx="1599444" cy="936104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  <p:pic>
          <p:nvPicPr>
            <p:cNvPr id="16" name="Picture 5" descr="\\BALGROUPIT.COM\U_DATA\CH\SOB\BAS1\b036702\Desktop\Hackathon\Love.PNG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7984" y="5373216"/>
              <a:ext cx="349099" cy="343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6" descr="\\BALGROUPIT.COM\U_DATA\CH\SOB\BAS1\b036702\Desktop\Hackathon\Smile_gut.PNG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2019" y="4915231"/>
              <a:ext cx="378808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7" descr="\\BALGROUPIT.COM\U_DATA\CH\SOB\BAS1\b036702\Desktop\Hackathon\Smile_schlecht.PNG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7511" y="4915231"/>
              <a:ext cx="385965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277343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 bwMode="auto">
          <a:xfrm>
            <a:off x="3347864" y="1309811"/>
            <a:ext cx="243656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de-CH" sz="1800" b="1" dirty="0" smtClean="0">
                <a:solidFill>
                  <a:srgbClr val="000000"/>
                </a:solidFill>
              </a:rPr>
              <a:t>Nachbarschaft - Fotos</a:t>
            </a:r>
            <a:endParaRPr lang="de-CH" sz="1800" b="1" dirty="0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3197994" y="1700808"/>
            <a:ext cx="2736304" cy="417646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4000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848" y="2348880"/>
            <a:ext cx="2736304" cy="3275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uppieren 13"/>
          <p:cNvGrpSpPr/>
          <p:nvPr/>
        </p:nvGrpSpPr>
        <p:grpSpPr>
          <a:xfrm>
            <a:off x="3766424" y="4846503"/>
            <a:ext cx="1599444" cy="936104"/>
            <a:chOff x="3764645" y="4850960"/>
            <a:chExt cx="1599444" cy="936104"/>
          </a:xfrm>
        </p:grpSpPr>
        <p:sp>
          <p:nvSpPr>
            <p:cNvPr id="15" name="Rechteck 14"/>
            <p:cNvSpPr/>
            <p:nvPr/>
          </p:nvSpPr>
          <p:spPr bwMode="auto">
            <a:xfrm>
              <a:off x="3764645" y="4850960"/>
              <a:ext cx="1599444" cy="936104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  <p:pic>
          <p:nvPicPr>
            <p:cNvPr id="16" name="Picture 5" descr="\\BALGROUPIT.COM\U_DATA\CH\SOB\BAS1\b036702\Desktop\Hackathon\Love.PNG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7984" y="5373216"/>
              <a:ext cx="349099" cy="343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6" descr="\\BALGROUPIT.COM\U_DATA\CH\SOB\BAS1\b036702\Desktop\Hackathon\Smile_gut.PNG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2019" y="4915231"/>
              <a:ext cx="378808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7" descr="\\BALGROUPIT.COM\U_DATA\CH\SOB\BAS1\b036702\Desktop\Hackathon\Smile_schlecht.PNG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7511" y="4915231"/>
              <a:ext cx="385965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40004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5911" y="1834554"/>
            <a:ext cx="2487513" cy="420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23862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 bwMode="auto">
          <a:xfrm>
            <a:off x="3347864" y="1309811"/>
            <a:ext cx="252633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de-CH" sz="1800" b="1" dirty="0" smtClean="0">
                <a:solidFill>
                  <a:srgbClr val="000000"/>
                </a:solidFill>
              </a:rPr>
              <a:t>Nachbarschaft - Profile</a:t>
            </a:r>
            <a:endParaRPr lang="de-CH" sz="1800" b="1" dirty="0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3203848" y="1700808"/>
            <a:ext cx="2736304" cy="417646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4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5363" y="2401902"/>
            <a:ext cx="2734790" cy="3475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uppieren 13"/>
          <p:cNvGrpSpPr/>
          <p:nvPr/>
        </p:nvGrpSpPr>
        <p:grpSpPr>
          <a:xfrm>
            <a:off x="3764645" y="4850960"/>
            <a:ext cx="1599444" cy="936104"/>
            <a:chOff x="3764645" y="4850960"/>
            <a:chExt cx="1599444" cy="936104"/>
          </a:xfrm>
        </p:grpSpPr>
        <p:sp>
          <p:nvSpPr>
            <p:cNvPr id="15" name="Rechteck 14"/>
            <p:cNvSpPr/>
            <p:nvPr/>
          </p:nvSpPr>
          <p:spPr bwMode="auto">
            <a:xfrm>
              <a:off x="3764645" y="4850960"/>
              <a:ext cx="1599444" cy="936104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  <p:pic>
          <p:nvPicPr>
            <p:cNvPr id="16" name="Picture 5" descr="\\BALGROUPIT.COM\U_DATA\CH\SOB\BAS1\b036702\Desktop\Hackathon\Love.PNG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7984" y="5373216"/>
              <a:ext cx="349099" cy="343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6" descr="\\BALGROUPIT.COM\U_DATA\CH\SOB\BAS1\b036702\Desktop\Hackathon\Smile_gut.PNG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2019" y="4915231"/>
              <a:ext cx="378808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7" descr="\\BALGROUPIT.COM\U_DATA\CH\SOB\BAS1\b036702\Desktop\Hackathon\Smile_schlecht.PNG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7511" y="4915231"/>
              <a:ext cx="385965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41028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3169" y="1844824"/>
            <a:ext cx="2182396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49911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1D5045D-E444-4A71-A071-A5B8BAD35080}" type="datetime4">
              <a:rPr lang="de-CH" noProof="0" smtClean="0"/>
              <a:pPr>
                <a:defRPr/>
              </a:pPr>
              <a:t>17. September 2016</a:t>
            </a:fld>
            <a:endParaRPr lang="de-CH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2</a:t>
            </a:fld>
            <a:endParaRPr lang="de-CH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endParaRPr lang="de-CH" dirty="0"/>
          </a:p>
        </p:txBody>
      </p:sp>
      <p:sp>
        <p:nvSpPr>
          <p:cNvPr id="16" name="Rechteck 15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4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80" y="260648"/>
            <a:ext cx="9119857" cy="6048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51939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 bwMode="auto">
          <a:xfrm>
            <a:off x="3347864" y="1309811"/>
            <a:ext cx="241091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de-CH" sz="1800" b="1" dirty="0" smtClean="0">
                <a:solidFill>
                  <a:srgbClr val="000000"/>
                </a:solidFill>
              </a:rPr>
              <a:t>Nachbarschaft - </a:t>
            </a:r>
            <a:r>
              <a:rPr lang="de-CH" sz="1800" b="1" dirty="0" err="1" smtClean="0">
                <a:solidFill>
                  <a:srgbClr val="000000"/>
                </a:solidFill>
              </a:rPr>
              <a:t>Jodel</a:t>
            </a:r>
            <a:endParaRPr lang="de-CH" sz="1800" b="1" dirty="0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3203848" y="1700808"/>
            <a:ext cx="2736304" cy="417646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48194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45" t="3926" b="13827"/>
          <a:stretch/>
        </p:blipFill>
        <p:spPr bwMode="auto">
          <a:xfrm>
            <a:off x="3196097" y="1694977"/>
            <a:ext cx="2744055" cy="42121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4" name="Gruppieren 13"/>
          <p:cNvGrpSpPr/>
          <p:nvPr/>
        </p:nvGrpSpPr>
        <p:grpSpPr>
          <a:xfrm>
            <a:off x="3764645" y="4850960"/>
            <a:ext cx="1599444" cy="936104"/>
            <a:chOff x="3764645" y="4850960"/>
            <a:chExt cx="1599444" cy="936104"/>
          </a:xfrm>
        </p:grpSpPr>
        <p:sp>
          <p:nvSpPr>
            <p:cNvPr id="15" name="Rechteck 14"/>
            <p:cNvSpPr/>
            <p:nvPr/>
          </p:nvSpPr>
          <p:spPr bwMode="auto">
            <a:xfrm>
              <a:off x="3764645" y="4850960"/>
              <a:ext cx="1599444" cy="936104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  <p:pic>
          <p:nvPicPr>
            <p:cNvPr id="16" name="Picture 5" descr="\\BALGROUPIT.COM\U_DATA\CH\SOB\BAS1\b036702\Desktop\Hackathon\Love.PNG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7984" y="5373216"/>
              <a:ext cx="349099" cy="343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6" descr="\\BALGROUPIT.COM\U_DATA\CH\SOB\BAS1\b036702\Desktop\Hackathon\Smile_gut.PNG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2019" y="4915231"/>
              <a:ext cx="378808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7" descr="\\BALGROUPIT.COM\U_DATA\CH\SOB\BAS1\b036702\Desktop\Hackathon\Smile_schlecht.PNG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7511" y="4915231"/>
              <a:ext cx="385965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" name="Rechteck 2"/>
          <p:cNvSpPr/>
          <p:nvPr/>
        </p:nvSpPr>
        <p:spPr bwMode="auto">
          <a:xfrm>
            <a:off x="3227192" y="1700808"/>
            <a:ext cx="1549891" cy="28803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600" b="1" dirty="0" smtClean="0">
                <a:solidFill>
                  <a:srgbClr val="FFC000"/>
                </a:solidFill>
                <a:latin typeface="Arial" pitchFamily="15" charset="0"/>
                <a:ea typeface="ヒラギノ角ゴ Pro W3" pitchFamily="15" charset="-128"/>
                <a:cs typeface="ヒラギノ角ゴ Pro W3" pitchFamily="15" charset="-128"/>
              </a:rPr>
              <a:t>Muttenz</a:t>
            </a:r>
            <a:endParaRPr kumimoji="0" lang="de-CH" sz="1600" b="1" i="0" u="none" strike="noStrike" cap="none" normalizeH="0" baseline="0" dirty="0">
              <a:ln>
                <a:noFill/>
              </a:ln>
              <a:solidFill>
                <a:srgbClr val="FFC000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91630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 bwMode="auto">
          <a:xfrm>
            <a:off x="3347864" y="1309811"/>
            <a:ext cx="129522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de-CH" sz="1800" b="1" dirty="0" smtClean="0">
                <a:solidFill>
                  <a:srgbClr val="000000"/>
                </a:solidFill>
              </a:rPr>
              <a:t>Eigenheime</a:t>
            </a:r>
            <a:endParaRPr lang="de-CH" sz="1800" b="1" dirty="0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3203848" y="1700808"/>
            <a:ext cx="2736304" cy="417646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7714" name="Picture 2" descr="\\BALGROUPIT.COM\U_DATA\CH\SOB\BAS1\b036702\Desktop\Hackathon\Haus_rated_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1785392"/>
            <a:ext cx="2448272" cy="1207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hteck 7"/>
          <p:cNvSpPr/>
          <p:nvPr/>
        </p:nvSpPr>
        <p:spPr bwMode="auto">
          <a:xfrm>
            <a:off x="3305333" y="3081435"/>
            <a:ext cx="1224134" cy="27555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9" name="Textfeld 8"/>
          <p:cNvSpPr txBox="1"/>
          <p:nvPr/>
        </p:nvSpPr>
        <p:spPr bwMode="auto">
          <a:xfrm>
            <a:off x="3493303" y="3110912"/>
            <a:ext cx="856005" cy="1846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</a:pPr>
            <a:r>
              <a:rPr lang="de-CH" sz="1200" b="1" dirty="0" smtClean="0">
                <a:solidFill>
                  <a:srgbClr val="000000"/>
                </a:solidFill>
              </a:rPr>
              <a:t>Finanzieren</a:t>
            </a:r>
            <a:endParaRPr lang="de-CH" sz="1200" b="1" dirty="0">
              <a:solidFill>
                <a:srgbClr val="000000"/>
              </a:solidFill>
            </a:endParaRPr>
          </a:p>
        </p:txBody>
      </p:sp>
      <p:sp>
        <p:nvSpPr>
          <p:cNvPr id="12" name="Rechteck 11"/>
          <p:cNvSpPr/>
          <p:nvPr/>
        </p:nvSpPr>
        <p:spPr bwMode="auto">
          <a:xfrm>
            <a:off x="4614129" y="3081435"/>
            <a:ext cx="1224134" cy="27555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13" name="Textfeld 12"/>
          <p:cNvSpPr txBox="1"/>
          <p:nvPr/>
        </p:nvSpPr>
        <p:spPr bwMode="auto">
          <a:xfrm>
            <a:off x="4884656" y="3110912"/>
            <a:ext cx="690895" cy="1846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</a:pPr>
            <a:r>
              <a:rPr lang="de-CH" sz="1200" b="1" dirty="0" smtClean="0">
                <a:solidFill>
                  <a:srgbClr val="000000"/>
                </a:solidFill>
              </a:rPr>
              <a:t>Bewerten</a:t>
            </a:r>
            <a:endParaRPr lang="de-CH" sz="1200" b="1" dirty="0">
              <a:solidFill>
                <a:srgbClr val="000000"/>
              </a:solidFill>
            </a:endParaRPr>
          </a:p>
        </p:txBody>
      </p:sp>
      <p:pic>
        <p:nvPicPr>
          <p:cNvPr id="627715" name="Picture 3" descr="\\BALGROUPIT.COM\U_DATA\CH\SOB\BAS1\b036702\Desktop\Hackathon\Haus_rated_2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7778" y="3429000"/>
            <a:ext cx="2458357" cy="1138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hteck 14"/>
          <p:cNvSpPr/>
          <p:nvPr/>
        </p:nvSpPr>
        <p:spPr bwMode="auto">
          <a:xfrm>
            <a:off x="3347866" y="4622166"/>
            <a:ext cx="1224134" cy="27555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16" name="Textfeld 15"/>
          <p:cNvSpPr txBox="1"/>
          <p:nvPr/>
        </p:nvSpPr>
        <p:spPr bwMode="auto">
          <a:xfrm>
            <a:off x="3535836" y="4651643"/>
            <a:ext cx="856005" cy="1846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</a:pPr>
            <a:r>
              <a:rPr lang="de-CH" sz="1200" b="1" dirty="0" smtClean="0">
                <a:solidFill>
                  <a:srgbClr val="000000"/>
                </a:solidFill>
              </a:rPr>
              <a:t>Finanzieren</a:t>
            </a:r>
            <a:endParaRPr lang="de-CH" sz="1200" b="1" dirty="0">
              <a:solidFill>
                <a:srgbClr val="000000"/>
              </a:solidFill>
            </a:endParaRPr>
          </a:p>
        </p:txBody>
      </p:sp>
      <p:sp>
        <p:nvSpPr>
          <p:cNvPr id="17" name="Rechteck 16"/>
          <p:cNvSpPr/>
          <p:nvPr/>
        </p:nvSpPr>
        <p:spPr bwMode="auto">
          <a:xfrm>
            <a:off x="4656662" y="4622166"/>
            <a:ext cx="1224134" cy="27555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18" name="Textfeld 17"/>
          <p:cNvSpPr txBox="1"/>
          <p:nvPr/>
        </p:nvSpPr>
        <p:spPr bwMode="auto">
          <a:xfrm>
            <a:off x="4927189" y="4651643"/>
            <a:ext cx="690895" cy="1846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</a:pPr>
            <a:r>
              <a:rPr lang="de-CH" sz="1200" b="1" dirty="0" smtClean="0">
                <a:solidFill>
                  <a:srgbClr val="000000"/>
                </a:solidFill>
              </a:rPr>
              <a:t>Bewerten</a:t>
            </a:r>
            <a:endParaRPr lang="de-CH" sz="1200" b="1" dirty="0">
              <a:solidFill>
                <a:srgbClr val="000000"/>
              </a:solidFill>
            </a:endParaRPr>
          </a:p>
        </p:txBody>
      </p:sp>
      <p:pic>
        <p:nvPicPr>
          <p:cNvPr id="627716" name="Picture 4" descr="\\BALGROUPIT.COM\U_DATA\CH\SOB\BAS1\b036702\Desktop\Hackathon\Haus_rated_3.PN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127"/>
          <a:stretch/>
        </p:blipFill>
        <p:spPr bwMode="auto">
          <a:xfrm>
            <a:off x="3337778" y="5085184"/>
            <a:ext cx="2458358" cy="792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5976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38978" name="Picture 2" descr="\\BALGROUPIT.COM\U_DATA\CH\SOB\BAS1\b036702\Desktop\Hackathon\Finanzieren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0926" y="1374151"/>
            <a:ext cx="2687960" cy="4460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2894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Warum?</a:t>
            </a:r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790E85F-1F0D-4DDB-A085-909767E546A3}" type="datetime4">
              <a:rPr lang="de-CH" noProof="0" smtClean="0"/>
              <a:pPr>
                <a:defRPr/>
              </a:pPr>
              <a:t>17. September 2016</a:t>
            </a:fld>
            <a:endParaRPr lang="de-CH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23</a:t>
            </a:fld>
            <a:endParaRPr lang="de-CH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endParaRPr lang="de-CH" dirty="0"/>
          </a:p>
        </p:txBody>
      </p:sp>
      <p:pic>
        <p:nvPicPr>
          <p:cNvPr id="64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586" y="1772817"/>
            <a:ext cx="2375364" cy="4032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916832"/>
            <a:ext cx="1898775" cy="3756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7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2"/>
          <a:stretch/>
        </p:blipFill>
        <p:spPr bwMode="auto">
          <a:xfrm>
            <a:off x="2510335" y="2165598"/>
            <a:ext cx="4258430" cy="29195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2052" name="Picture 4" descr="\\BALGROUPIT.COM\U_DATA\CH\SOB\BAS1\b036702\Desktop\Hackathon\Icons\Icon_Dollar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3088307"/>
            <a:ext cx="780914" cy="1074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2053" name="Picture 5" descr="\\BALGROUPIT.COM\U_DATA\CH\SOB\BAS1\b036702\Desktop\Hackathon\Icons\Icon_Herz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8788" y="3140968"/>
            <a:ext cx="1301524" cy="10960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2054" name="Picture 6" descr="\\BALGROUPIT.COM\U_DATA\CH\SOB\BAS1\b036702\Desktop\Hackathon\Icons\Icon_renovieren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0716" y="3212726"/>
            <a:ext cx="1065229" cy="1024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66378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2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790E85F-1F0D-4DDB-A085-909767E546A3}" type="datetime4">
              <a:rPr lang="de-CH" noProof="0" smtClean="0"/>
              <a:pPr>
                <a:defRPr/>
              </a:pPr>
              <a:t>17. September 2016</a:t>
            </a:fld>
            <a:endParaRPr lang="de-CH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24</a:t>
            </a:fld>
            <a:endParaRPr lang="de-CH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endParaRPr lang="de-CH" dirty="0"/>
          </a:p>
        </p:txBody>
      </p:sp>
      <p:sp>
        <p:nvSpPr>
          <p:cNvPr id="8" name="Rechteck 7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89824" y="16894496"/>
            <a:ext cx="6980373" cy="523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47171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21" r="23393" b="28847"/>
          <a:stretch/>
        </p:blipFill>
        <p:spPr bwMode="auto">
          <a:xfrm>
            <a:off x="1570910" y="908720"/>
            <a:ext cx="5836171" cy="4869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84367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1D5045D-E444-4A71-A071-A5B8BAD35080}" type="datetime4">
              <a:rPr lang="de-CH" noProof="0" smtClean="0"/>
              <a:pPr>
                <a:defRPr/>
              </a:pPr>
              <a:t>17. September 2016</a:t>
            </a:fld>
            <a:endParaRPr lang="de-CH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3</a:t>
            </a:fld>
            <a:endParaRPr lang="de-CH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endParaRPr lang="de-CH" dirty="0"/>
          </a:p>
        </p:txBody>
      </p:sp>
      <p:sp>
        <p:nvSpPr>
          <p:cNvPr id="16" name="Rechteck 15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4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55" y="620688"/>
            <a:ext cx="9093149" cy="540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hteck 2"/>
          <p:cNvSpPr/>
          <p:nvPr/>
        </p:nvSpPr>
        <p:spPr bwMode="auto">
          <a:xfrm>
            <a:off x="1043608" y="2384884"/>
            <a:ext cx="7272808" cy="93610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4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rPr>
              <a:t>Mein Eigenheim App</a:t>
            </a:r>
          </a:p>
        </p:txBody>
      </p:sp>
      <p:sp>
        <p:nvSpPr>
          <p:cNvPr id="11" name="Rechteck 10"/>
          <p:cNvSpPr/>
          <p:nvPr/>
        </p:nvSpPr>
        <p:spPr bwMode="auto">
          <a:xfrm>
            <a:off x="1043608" y="3274132"/>
            <a:ext cx="7272808" cy="93610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28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rPr>
              <a:t>Wir machen Sie sicherer</a:t>
            </a:r>
          </a:p>
        </p:txBody>
      </p:sp>
      <p:pic>
        <p:nvPicPr>
          <p:cNvPr id="6451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2446" y="3487544"/>
            <a:ext cx="1331962" cy="509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12498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1D5045D-E444-4A71-A071-A5B8BAD35080}" type="datetime4">
              <a:rPr lang="de-CH" noProof="0" smtClean="0"/>
              <a:pPr>
                <a:defRPr/>
              </a:pPr>
              <a:t>17. September 2016</a:t>
            </a:fld>
            <a:endParaRPr lang="de-CH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4</a:t>
            </a:fld>
            <a:endParaRPr lang="de-CH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endParaRPr lang="de-CH" dirty="0"/>
          </a:p>
        </p:txBody>
      </p:sp>
      <p:sp>
        <p:nvSpPr>
          <p:cNvPr id="16" name="Rechteck 15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4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0635" y="2145871"/>
            <a:ext cx="1524365" cy="3011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614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980728"/>
            <a:ext cx="1266825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614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747815"/>
            <a:ext cx="200977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6149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3095" y="2486002"/>
            <a:ext cx="1314450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6150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7071" y="3152775"/>
            <a:ext cx="192405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6151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978" y="4725144"/>
            <a:ext cx="1409700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6152" name="Picture 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453" y="5349475"/>
            <a:ext cx="1789361" cy="5277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6153" name="Picture 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6536" y="4505703"/>
            <a:ext cx="722560" cy="6514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6154" name="Picture 1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9786" y="5349475"/>
            <a:ext cx="1773932" cy="562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6155" name="Picture 11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1004" y="384473"/>
            <a:ext cx="1205008" cy="12725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Abgerundete rechteckige Legende 6"/>
          <p:cNvSpPr/>
          <p:nvPr/>
        </p:nvSpPr>
        <p:spPr bwMode="auto">
          <a:xfrm>
            <a:off x="251520" y="764704"/>
            <a:ext cx="2304256" cy="1584176"/>
          </a:xfrm>
          <a:prstGeom prst="wedgeRoundRectCallout">
            <a:avLst>
              <a:gd name="adj1" fmla="val 89910"/>
              <a:gd name="adj2" fmla="val 56459"/>
              <a:gd name="adj3" fmla="val 16667"/>
            </a:avLst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20" name="Abgerundete rechteckige Legende 19"/>
          <p:cNvSpPr/>
          <p:nvPr/>
        </p:nvSpPr>
        <p:spPr bwMode="auto">
          <a:xfrm>
            <a:off x="6015874" y="188640"/>
            <a:ext cx="2304256" cy="1584176"/>
          </a:xfrm>
          <a:prstGeom prst="wedgeRoundRectCallout">
            <a:avLst>
              <a:gd name="adj1" fmla="val -83127"/>
              <a:gd name="adj2" fmla="val 85319"/>
              <a:gd name="adj3" fmla="val 16667"/>
            </a:avLst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21" name="Abgerundete rechteckige Legende 20"/>
          <p:cNvSpPr/>
          <p:nvPr/>
        </p:nvSpPr>
        <p:spPr bwMode="auto">
          <a:xfrm>
            <a:off x="6053281" y="2360687"/>
            <a:ext cx="2304256" cy="1584176"/>
          </a:xfrm>
          <a:prstGeom prst="wedgeRoundRectCallout">
            <a:avLst>
              <a:gd name="adj1" fmla="val -84050"/>
              <a:gd name="adj2" fmla="val 18202"/>
              <a:gd name="adj3" fmla="val 16667"/>
            </a:avLst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22" name="Abgerundete rechteckige Legende 21"/>
          <p:cNvSpPr/>
          <p:nvPr/>
        </p:nvSpPr>
        <p:spPr bwMode="auto">
          <a:xfrm>
            <a:off x="5991380" y="4495031"/>
            <a:ext cx="2304256" cy="1584176"/>
          </a:xfrm>
          <a:prstGeom prst="wedgeRoundRectCallout">
            <a:avLst>
              <a:gd name="adj1" fmla="val -81743"/>
              <a:gd name="adj2" fmla="val -38848"/>
              <a:gd name="adj3" fmla="val 16667"/>
            </a:avLst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23" name="Abgerundete rechteckige Legende 22"/>
          <p:cNvSpPr/>
          <p:nvPr/>
        </p:nvSpPr>
        <p:spPr bwMode="auto">
          <a:xfrm>
            <a:off x="611560" y="4365104"/>
            <a:ext cx="2304256" cy="1584176"/>
          </a:xfrm>
          <a:prstGeom prst="wedgeRoundRectCallout">
            <a:avLst>
              <a:gd name="adj1" fmla="val 75144"/>
              <a:gd name="adj2" fmla="val -83817"/>
              <a:gd name="adj3" fmla="val 16667"/>
            </a:avLst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580314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6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6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6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6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6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6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6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6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6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20" grpId="0" animBg="1"/>
      <p:bldP spid="21" grpId="0" animBg="1"/>
      <p:bldP spid="22" grpId="0" animBg="1"/>
      <p:bldP spid="2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 bwMode="auto">
          <a:xfrm>
            <a:off x="3347864" y="1309811"/>
            <a:ext cx="105157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de-CH" sz="1800" b="1" dirty="0" smtClean="0">
                <a:solidFill>
                  <a:srgbClr val="000000"/>
                </a:solidFill>
              </a:rPr>
              <a:t>Startseite</a:t>
            </a:r>
            <a:endParaRPr lang="de-CH" sz="1800" b="1" dirty="0">
              <a:solidFill>
                <a:srgbClr val="000000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0400" y="799967"/>
            <a:ext cx="2883026" cy="5275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4986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5667" name="Picture 3" descr="\\BALGROUPIT.COM\U_DATA\CH\SOB\BAS1\b036702\Desktop\Hackathon\Meine_Daten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856" y="1674856"/>
            <a:ext cx="2522671" cy="3698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6"/>
          <p:cNvSpPr txBox="1"/>
          <p:nvPr/>
        </p:nvSpPr>
        <p:spPr bwMode="auto">
          <a:xfrm>
            <a:off x="3347864" y="1309811"/>
            <a:ext cx="135934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de-CH" sz="1800" b="1" dirty="0" smtClean="0">
                <a:solidFill>
                  <a:srgbClr val="000000"/>
                </a:solidFill>
              </a:rPr>
              <a:t>Meine Daten</a:t>
            </a:r>
            <a:endParaRPr lang="de-CH" sz="1800" b="1" dirty="0">
              <a:solidFill>
                <a:srgbClr val="000000"/>
              </a:solidFill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4355976" y="5465948"/>
            <a:ext cx="1442551" cy="27555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9" name="Textfeld 8"/>
          <p:cNvSpPr txBox="1"/>
          <p:nvPr/>
        </p:nvSpPr>
        <p:spPr bwMode="auto">
          <a:xfrm>
            <a:off x="4719476" y="5495425"/>
            <a:ext cx="7437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</a:pPr>
            <a:r>
              <a:rPr lang="de-CH" sz="1200" b="1" dirty="0" smtClean="0">
                <a:solidFill>
                  <a:srgbClr val="000000"/>
                </a:solidFill>
              </a:rPr>
              <a:t>Speichern</a:t>
            </a:r>
            <a:endParaRPr lang="de-CH" sz="12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4649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 bwMode="auto">
          <a:xfrm>
            <a:off x="3347864" y="1309811"/>
            <a:ext cx="246221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de-CH" sz="1800" b="1" dirty="0" smtClean="0">
                <a:solidFill>
                  <a:srgbClr val="000000"/>
                </a:solidFill>
              </a:rPr>
              <a:t>Eigenheim hinzufügen</a:t>
            </a:r>
            <a:endParaRPr lang="de-CH" sz="1800" b="1" dirty="0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3203848" y="1700808"/>
            <a:ext cx="2736304" cy="417646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6690" name="Picture 2" descr="\\BALGROUPIT.COM\U_DATA\CH\SOB\BAS1\b036702\Desktop\Hackathon\Eigenheim_erfassen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9733" y="1700808"/>
            <a:ext cx="2504531" cy="2005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0426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 bwMode="auto">
          <a:xfrm>
            <a:off x="3347864" y="1309811"/>
            <a:ext cx="8335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de-CH" sz="1800" b="1" dirty="0" smtClean="0">
                <a:solidFill>
                  <a:srgbClr val="000000"/>
                </a:solidFill>
              </a:rPr>
              <a:t>Aussen</a:t>
            </a:r>
            <a:endParaRPr lang="de-CH" sz="1800" b="1" dirty="0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3203848" y="1700808"/>
            <a:ext cx="2736304" cy="417646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8738" name="Picture 2" descr="\\BALGROUPIT.COM\U_DATA\CH\SOB\BAS1\b036702\Desktop\Hackathon\Aussen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6372" y="1849188"/>
            <a:ext cx="2397809" cy="1596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8739" name="Picture 3" descr="\\BALGROUPIT.COM\U_DATA\CH\SOB\BAS1\b036702\Desktop\Hackathon\Aussen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2464" y="3573017"/>
            <a:ext cx="2371717" cy="1565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8740" name="Picture 4" descr="\\BALGROUPIT.COM\U_DATA\CH\SOB\BAS1\b036702\Desktop\Hackathon\Aussen3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091"/>
          <a:stretch/>
        </p:blipFill>
        <p:spPr bwMode="auto">
          <a:xfrm>
            <a:off x="3402463" y="5229200"/>
            <a:ext cx="2379663" cy="648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 2"/>
          <p:cNvSpPr/>
          <p:nvPr/>
        </p:nvSpPr>
        <p:spPr bwMode="auto">
          <a:xfrm>
            <a:off x="3764645" y="4850317"/>
            <a:ext cx="1599444" cy="936104"/>
          </a:xfrm>
          <a:prstGeom prst="rect">
            <a:avLst/>
          </a:prstGeom>
          <a:solidFill>
            <a:schemeClr val="bg1">
              <a:alpha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8741" name="Picture 5" descr="\\BALGROUPIT.COM\U_DATA\CH\SOB\BAS1\b036702\Desktop\Hackathon\Love.PNG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9110" y="5368472"/>
            <a:ext cx="349099" cy="343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8742" name="Picture 6" descr="\\BALGROUPIT.COM\U_DATA\CH\SOB\BAS1\b036702\Desktop\Hackathon\Smile_gut.PNG"/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2019" y="4914588"/>
            <a:ext cx="378808" cy="357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8743" name="Picture 7" descr="\\BALGROUPIT.COM\U_DATA\CH\SOB\BAS1\b036702\Desktop\Hackathon\Smile_schlecht.PNG"/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7511" y="4914588"/>
            <a:ext cx="385965" cy="357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8744" name="Picture 8" descr="\\BALGROUPIT.COM\U_DATA\CH\SOB\BAS1\b036702\Desktop\Hackathon\Renovieren.PNG"/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7511" y="5346779"/>
            <a:ext cx="365161" cy="365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2789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 bwMode="auto">
          <a:xfrm>
            <a:off x="3347864" y="1309811"/>
            <a:ext cx="43601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de-CH" sz="1800" b="1" dirty="0" smtClean="0">
                <a:solidFill>
                  <a:srgbClr val="000000"/>
                </a:solidFill>
              </a:rPr>
              <a:t>Bad</a:t>
            </a:r>
            <a:endParaRPr lang="de-CH" sz="1800" b="1" dirty="0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3203848" y="1700808"/>
            <a:ext cx="2736304" cy="417646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9763" name="Picture 3" descr="\\BALGROUPIT.COM\U_DATA\CH\SOB\BAS1\b036702\Desktop\Hackathon\Bad2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3529052"/>
            <a:ext cx="2384395" cy="1587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9762" name="Picture 2" descr="\\BALGROUPIT.COM\U_DATA\CH\SOB\BAS1\b036702\Desktop\Hackathon\Bad1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6318" y="1853478"/>
            <a:ext cx="2391364" cy="1591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Gruppieren 4"/>
          <p:cNvGrpSpPr/>
          <p:nvPr/>
        </p:nvGrpSpPr>
        <p:grpSpPr>
          <a:xfrm>
            <a:off x="3764645" y="4850317"/>
            <a:ext cx="1599444" cy="936104"/>
            <a:chOff x="3764645" y="4850317"/>
            <a:chExt cx="1599444" cy="936104"/>
          </a:xfrm>
        </p:grpSpPr>
        <p:sp>
          <p:nvSpPr>
            <p:cNvPr id="3" name="Rechteck 2"/>
            <p:cNvSpPr/>
            <p:nvPr/>
          </p:nvSpPr>
          <p:spPr bwMode="auto">
            <a:xfrm>
              <a:off x="3764645" y="4850317"/>
              <a:ext cx="1599444" cy="936104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  <p:pic>
          <p:nvPicPr>
            <p:cNvPr id="628741" name="Picture 5" descr="\\BALGROUPIT.COM\U_DATA\CH\SOB\BAS1\b036702\Desktop\Hackathon\Love.PNG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89110" y="5368472"/>
              <a:ext cx="349099" cy="343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8742" name="Picture 6" descr="\\BALGROUPIT.COM\U_DATA\CH\SOB\BAS1\b036702\Desktop\Hackathon\Smile_gut.PNG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2019" y="4914588"/>
              <a:ext cx="378808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8743" name="Picture 7" descr="\\BALGROUPIT.COM\U_DATA\CH\SOB\BAS1\b036702\Desktop\Hackathon\Smile_schlecht.PNG"/>
            <p:cNvPicPr>
              <a:picLocks noChangeAspect="1" noChangeArrowheads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7511" y="4914588"/>
              <a:ext cx="385965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8744" name="Picture 8" descr="\\BALGROUPIT.COM\U_DATA\CH\SOB\BAS1\b036702\Desktop\Hackathon\Renovieren.PNG"/>
            <p:cNvPicPr>
              <a:picLocks noChangeAspect="1" noChangeArrowheads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7511" y="5346779"/>
              <a:ext cx="365161" cy="3651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860533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652&quot;/&gt;&lt;partner val=&quot;53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1&quot;&gt;&lt;elem&gt;&lt;m_ppcolschidx val=&quot;0&quot;/&gt;&lt;m_rgb r=&quot;0&quot; g=&quot;4f&quot; b=&quot;f2&quot;/&gt;&lt;/elem&gt;&lt;/m_vecMRU&gt;&lt;/m_mruColor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86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X2WxMwU2HMJJAq1.q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wBQvbNkW331rBUbSR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c3sfOvEi2A1XIr0H6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yze4tCkmxr31gRMsrC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X2WxMwU2HMJJAq1.q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wBQvbNkW331rBUbSR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c3sfOvEi2A1XIr0H6k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yze4tCkmxr31gRMsrC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X2WxMwU2HMJJAq1.q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wBQvbNkW331rBUbSRo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c3sfOvEi2A1XIr0H6k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yze4tCkmxr31gRMsrC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X2WxMwU2HMJJAq1.q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wBQvbNkW331rBUbSR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wBQvbNkW331rBUbSRo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c3sfOvEi2A1XIr0H6k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yze4tCkmxr31gRMsrC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X2WxMwU2HMJJAq1.q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wBQvbNkW331rBUbSRo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c3sfOvEi2A1XIr0H6k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yze4tCkmxr31gRMsrC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X2WxMwU2HMJJAq1.q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wBQvbNkW331rBUbSR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c3sfOvEi2A1XIr0H6k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c3sfOvEi2A1XIr0H6k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yze4tCkmxr31gRMsrC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X2WxMwU2HMJJAq1.q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wBQvbNkW331rBUbSRo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yze4tCkmxr31gRMsrC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X2WxMwU2HMJJAq1.q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z4KeqMY0.liUcDV_oa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J8xmwrc06PAZzOnXITc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Sya3vCVECxFplM0EvZ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0QaCiTW0iFh2pr.W9z_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yze4tCkmxr31gRMsrCA"/>
</p:tagLst>
</file>

<file path=ppt/theme/theme1.xml><?xml version="1.0" encoding="utf-8"?>
<a:theme xmlns:a="http://schemas.openxmlformats.org/drawingml/2006/main" name="BAS_Template_DE_CH_SoBa_270209">
  <a:themeElements>
    <a:clrScheme name="Baloise">
      <a:dk1>
        <a:srgbClr val="000000"/>
      </a:dk1>
      <a:lt1>
        <a:srgbClr val="FFFFFF"/>
      </a:lt1>
      <a:dk2>
        <a:srgbClr val="003399"/>
      </a:dk2>
      <a:lt2>
        <a:srgbClr val="EBF0FA"/>
      </a:lt2>
      <a:accent1>
        <a:srgbClr val="00A5D5"/>
      </a:accent1>
      <a:accent2>
        <a:srgbClr val="E64366"/>
      </a:accent2>
      <a:accent3>
        <a:srgbClr val="F6A800"/>
      </a:accent3>
      <a:accent4>
        <a:srgbClr val="FFDC44"/>
      </a:accent4>
      <a:accent5>
        <a:srgbClr val="CCCCCC"/>
      </a:accent5>
      <a:accent6>
        <a:srgbClr val="B7007A"/>
      </a:accent6>
      <a:hlink>
        <a:srgbClr val="B7007A"/>
      </a:hlink>
      <a:folHlink>
        <a:srgbClr val="B7007A"/>
      </a:folHlink>
    </a:clrScheme>
    <a:fontScheme name="Leere Prä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15" charset="0"/>
            <a:ea typeface="ヒラギノ角ゴ Pro W3" pitchFamily="15" charset="-128"/>
            <a:cs typeface="ヒラギノ角ゴ Pro W3" pitchFamily="15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15" charset="0"/>
            <a:ea typeface="ヒラギノ角ゴ Pro W3" pitchFamily="15" charset="-128"/>
            <a:cs typeface="ヒラギノ角ゴ Pro W3" pitchFamily="15" charset="-128"/>
          </a:defRPr>
        </a:defPPr>
      </a:lstStyle>
    </a:lnDef>
    <a:txDef>
      <a:spPr bwMode="auto">
        <a:noFill/>
        <a:ln w="9525">
          <a:noFill/>
          <a:miter lim="800000"/>
          <a:headEnd/>
          <a:tailEnd/>
        </a:ln>
      </a:spPr>
      <a:bodyPr lIns="0" tIns="0" rIns="0" bIns="0"/>
      <a:lstStyle>
        <a:defPPr marL="342900" indent="-342900">
          <a:spcBef>
            <a:spcPct val="20000"/>
          </a:spcBef>
          <a:buClr>
            <a:schemeClr val="accent1"/>
          </a:buClr>
          <a:buFont typeface="Wingdings" pitchFamily="2" charset="2"/>
          <a:buChar char="à"/>
          <a:defRPr sz="1800" dirty="0">
            <a:solidFill>
              <a:srgbClr val="000000"/>
            </a:solidFill>
          </a:defRPr>
        </a:defPPr>
      </a:lstStyle>
    </a:tx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4C93"/>
        </a:dk2>
        <a:lt2>
          <a:srgbClr val="FFFFFF"/>
        </a:lt2>
        <a:accent1>
          <a:srgbClr val="FF9900"/>
        </a:accent1>
        <a:accent2>
          <a:srgbClr val="62BDE5"/>
        </a:accent2>
        <a:accent3>
          <a:srgbClr val="FFFFFF"/>
        </a:accent3>
        <a:accent4>
          <a:srgbClr val="000000"/>
        </a:accent4>
        <a:accent5>
          <a:srgbClr val="FFCAAA"/>
        </a:accent5>
        <a:accent6>
          <a:srgbClr val="58ABCF"/>
        </a:accent6>
        <a:hlink>
          <a:srgbClr val="CC0099"/>
        </a:hlink>
        <a:folHlink>
          <a:srgbClr val="CCCC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AS_Template_DE_CH_SoBa_270209</Template>
  <TotalTime>0</TotalTime>
  <Words>186</Words>
  <Application>Microsoft Office PowerPoint</Application>
  <PresentationFormat>Bildschirmpräsentation (4:3)</PresentationFormat>
  <Paragraphs>101</Paragraphs>
  <Slides>24</Slides>
  <Notes>18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4</vt:i4>
      </vt:variant>
    </vt:vector>
  </HeadingPairs>
  <TitlesOfParts>
    <vt:vector size="26" baseType="lpstr">
      <vt:lpstr>BAS_Template_DE_CH_SoBa_270209</vt:lpstr>
      <vt:lpstr>think-cell Slide</vt:lpstr>
      <vt:lpstr>Szene Eigenheim-Kauf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Warum?</vt:lpstr>
      <vt:lpstr>PowerPoint-Präsentation</vt:lpstr>
    </vt:vector>
  </TitlesOfParts>
  <Company>Baloise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rnings Zalando</dc:title>
  <dc:creator>Sutter, Roger</dc:creator>
  <cp:lastModifiedBy>Sutter, Roger</cp:lastModifiedBy>
  <cp:revision>53</cp:revision>
  <cp:lastPrinted>2008-08-14T16:17:16Z</cp:lastPrinted>
  <dcterms:created xsi:type="dcterms:W3CDTF">2016-05-02T06:18:58Z</dcterms:created>
  <dcterms:modified xsi:type="dcterms:W3CDTF">2016-09-17T11:33:21Z</dcterms:modified>
</cp:coreProperties>
</file>